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376764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2" d="100"/>
          <a:sy n="72" d="100"/>
        </p:scale>
        <p:origin x="456" y="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64584E-F6C2-4166-901D-EA3A7BA6C6B1}" type="datetimeFigureOut">
              <a:rPr lang="en-US" smtClean="0"/>
              <a:t>8/2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DD5F08-3C8A-4FCE-96D5-1B2ED3B5DA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36834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6113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hyperlink" Target="http://www.slideshare.net/capgemini" TargetMode="External"/><Relationship Id="rId12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hyperlink" Target="http://www.youtube.com/capgeminimedia" TargetMode="External"/><Relationship Id="rId5" Type="http://schemas.openxmlformats.org/officeDocument/2006/relationships/hyperlink" Target="http://www.linkedin.com/company/capgemini" TargetMode="External"/><Relationship Id="rId10" Type="http://schemas.openxmlformats.org/officeDocument/2006/relationships/image" Target="../media/image6.png"/><Relationship Id="rId4" Type="http://schemas.openxmlformats.org/officeDocument/2006/relationships/image" Target="../media/image3.png"/><Relationship Id="rId9" Type="http://schemas.openxmlformats.org/officeDocument/2006/relationships/hyperlink" Target="http://www.twitter.com/capgemini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hyperlink" Target="http://www.slideshare.net/capgemini" TargetMode="External"/><Relationship Id="rId12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hyperlink" Target="http://www.youtube.com/capgeminimedia" TargetMode="External"/><Relationship Id="rId5" Type="http://schemas.openxmlformats.org/officeDocument/2006/relationships/hyperlink" Target="http://www.linkedin.com/company/capgemini" TargetMode="External"/><Relationship Id="rId10" Type="http://schemas.openxmlformats.org/officeDocument/2006/relationships/image" Target="../media/image6.png"/><Relationship Id="rId4" Type="http://schemas.openxmlformats.org/officeDocument/2006/relationships/image" Target="../media/image3.png"/><Relationship Id="rId9" Type="http://schemas.openxmlformats.org/officeDocument/2006/relationships/hyperlink" Target="http://www.twitter.com/capgemini" TargetMode="Externa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raphic 13">
            <a:extLst>
              <a:ext uri="{FF2B5EF4-FFF2-40B4-BE49-F238E27FC236}">
                <a16:creationId xmlns:a16="http://schemas.microsoft.com/office/drawing/2014/main" id="{5D1B5F70-39A3-4E01-8EEB-A624F6527260}"/>
              </a:ext>
            </a:extLst>
          </p:cNvPr>
          <p:cNvSpPr>
            <a:spLocks noChangeAspect="1"/>
          </p:cNvSpPr>
          <p:nvPr userDrawn="1"/>
        </p:nvSpPr>
        <p:spPr>
          <a:xfrm>
            <a:off x="263352" y="908720"/>
            <a:ext cx="10199251" cy="6192688"/>
          </a:xfrm>
          <a:custGeom>
            <a:avLst/>
            <a:gdLst>
              <a:gd name="connsiteX0" fmla="*/ 36195 w 8117205"/>
              <a:gd name="connsiteY0" fmla="*/ 4710199 h 4710198"/>
              <a:gd name="connsiteX1" fmla="*/ 0 w 8117205"/>
              <a:gd name="connsiteY1" fmla="*/ 4697817 h 4710198"/>
              <a:gd name="connsiteX2" fmla="*/ 538163 w 8117205"/>
              <a:gd name="connsiteY2" fmla="*/ 3739602 h 4710198"/>
              <a:gd name="connsiteX3" fmla="*/ 1340168 w 8117205"/>
              <a:gd name="connsiteY3" fmla="*/ 2915689 h 4710198"/>
              <a:gd name="connsiteX4" fmla="*/ 2613660 w 8117205"/>
              <a:gd name="connsiteY4" fmla="*/ 2190837 h 4710198"/>
              <a:gd name="connsiteX5" fmla="*/ 2621280 w 8117205"/>
              <a:gd name="connsiteY5" fmla="*/ 2187979 h 4710198"/>
              <a:gd name="connsiteX6" fmla="*/ 2628900 w 8117205"/>
              <a:gd name="connsiteY6" fmla="*/ 2191789 h 4710198"/>
              <a:gd name="connsiteX7" fmla="*/ 4513898 w 8117205"/>
              <a:gd name="connsiteY7" fmla="*/ 2830917 h 4710198"/>
              <a:gd name="connsiteX8" fmla="*/ 5841683 w 8117205"/>
              <a:gd name="connsiteY8" fmla="*/ 2599459 h 4710198"/>
              <a:gd name="connsiteX9" fmla="*/ 6102668 w 8117205"/>
              <a:gd name="connsiteY9" fmla="*/ 1288819 h 4710198"/>
              <a:gd name="connsiteX10" fmla="*/ 6256020 w 8117205"/>
              <a:gd name="connsiteY10" fmla="*/ 204874 h 4710198"/>
              <a:gd name="connsiteX11" fmla="*/ 7391400 w 8117205"/>
              <a:gd name="connsiteY11" fmla="*/ 43901 h 4710198"/>
              <a:gd name="connsiteX12" fmla="*/ 8117205 w 8117205"/>
              <a:gd name="connsiteY12" fmla="*/ 242021 h 4710198"/>
              <a:gd name="connsiteX13" fmla="*/ 8102918 w 8117205"/>
              <a:gd name="connsiteY13" fmla="*/ 277264 h 4710198"/>
              <a:gd name="connsiteX14" fmla="*/ 7384733 w 8117205"/>
              <a:gd name="connsiteY14" fmla="*/ 82001 h 4710198"/>
              <a:gd name="connsiteX15" fmla="*/ 6281738 w 8117205"/>
              <a:gd name="connsiteY15" fmla="*/ 233449 h 4710198"/>
              <a:gd name="connsiteX16" fmla="*/ 6139815 w 8117205"/>
              <a:gd name="connsiteY16" fmla="*/ 1279294 h 4710198"/>
              <a:gd name="connsiteX17" fmla="*/ 6187440 w 8117205"/>
              <a:gd name="connsiteY17" fmla="*/ 2101302 h 4710198"/>
              <a:gd name="connsiteX18" fmla="*/ 5866448 w 8117205"/>
              <a:gd name="connsiteY18" fmla="*/ 2629939 h 4710198"/>
              <a:gd name="connsiteX19" fmla="*/ 4510088 w 8117205"/>
              <a:gd name="connsiteY19" fmla="*/ 2869969 h 4710198"/>
              <a:gd name="connsiteX20" fmla="*/ 2620328 w 8117205"/>
              <a:gd name="connsiteY20" fmla="*/ 2230842 h 4710198"/>
              <a:gd name="connsiteX21" fmla="*/ 568643 w 8117205"/>
              <a:gd name="connsiteY21" fmla="*/ 3763414 h 4710198"/>
              <a:gd name="connsiteX22" fmla="*/ 36195 w 8117205"/>
              <a:gd name="connsiteY22" fmla="*/ 4710199 h 4710198"/>
              <a:gd name="connsiteX0" fmla="*/ 36195 w 8117205"/>
              <a:gd name="connsiteY0" fmla="*/ 4710199 h 4710199"/>
              <a:gd name="connsiteX1" fmla="*/ 0 w 8117205"/>
              <a:gd name="connsiteY1" fmla="*/ 4697817 h 4710199"/>
              <a:gd name="connsiteX2" fmla="*/ 538163 w 8117205"/>
              <a:gd name="connsiteY2" fmla="*/ 3739602 h 4710199"/>
              <a:gd name="connsiteX3" fmla="*/ 1340168 w 8117205"/>
              <a:gd name="connsiteY3" fmla="*/ 2915689 h 4710199"/>
              <a:gd name="connsiteX4" fmla="*/ 2613660 w 8117205"/>
              <a:gd name="connsiteY4" fmla="*/ 2190837 h 4710199"/>
              <a:gd name="connsiteX5" fmla="*/ 2621280 w 8117205"/>
              <a:gd name="connsiteY5" fmla="*/ 2187979 h 4710199"/>
              <a:gd name="connsiteX6" fmla="*/ 2628900 w 8117205"/>
              <a:gd name="connsiteY6" fmla="*/ 2191789 h 4710199"/>
              <a:gd name="connsiteX7" fmla="*/ 4513898 w 8117205"/>
              <a:gd name="connsiteY7" fmla="*/ 2830917 h 4710199"/>
              <a:gd name="connsiteX8" fmla="*/ 5841683 w 8117205"/>
              <a:gd name="connsiteY8" fmla="*/ 2599459 h 4710199"/>
              <a:gd name="connsiteX9" fmla="*/ 6102668 w 8117205"/>
              <a:gd name="connsiteY9" fmla="*/ 1288819 h 4710199"/>
              <a:gd name="connsiteX10" fmla="*/ 6256020 w 8117205"/>
              <a:gd name="connsiteY10" fmla="*/ 204874 h 4710199"/>
              <a:gd name="connsiteX11" fmla="*/ 7391400 w 8117205"/>
              <a:gd name="connsiteY11" fmla="*/ 43901 h 4710199"/>
              <a:gd name="connsiteX12" fmla="*/ 8117205 w 8117205"/>
              <a:gd name="connsiteY12" fmla="*/ 242021 h 4710199"/>
              <a:gd name="connsiteX13" fmla="*/ 7384733 w 8117205"/>
              <a:gd name="connsiteY13" fmla="*/ 82001 h 4710199"/>
              <a:gd name="connsiteX14" fmla="*/ 6281738 w 8117205"/>
              <a:gd name="connsiteY14" fmla="*/ 233449 h 4710199"/>
              <a:gd name="connsiteX15" fmla="*/ 6139815 w 8117205"/>
              <a:gd name="connsiteY15" fmla="*/ 1279294 h 4710199"/>
              <a:gd name="connsiteX16" fmla="*/ 6187440 w 8117205"/>
              <a:gd name="connsiteY16" fmla="*/ 2101302 h 4710199"/>
              <a:gd name="connsiteX17" fmla="*/ 5866448 w 8117205"/>
              <a:gd name="connsiteY17" fmla="*/ 2629939 h 4710199"/>
              <a:gd name="connsiteX18" fmla="*/ 4510088 w 8117205"/>
              <a:gd name="connsiteY18" fmla="*/ 2869969 h 4710199"/>
              <a:gd name="connsiteX19" fmla="*/ 2620328 w 8117205"/>
              <a:gd name="connsiteY19" fmla="*/ 2230842 h 4710199"/>
              <a:gd name="connsiteX20" fmla="*/ 568643 w 8117205"/>
              <a:gd name="connsiteY20" fmla="*/ 3763414 h 4710199"/>
              <a:gd name="connsiteX21" fmla="*/ 36195 w 8117205"/>
              <a:gd name="connsiteY21" fmla="*/ 4710199 h 4710199"/>
              <a:gd name="connsiteX0" fmla="*/ 36195 w 7528033"/>
              <a:gd name="connsiteY0" fmla="*/ 4673434 h 4673434"/>
              <a:gd name="connsiteX1" fmla="*/ 0 w 7528033"/>
              <a:gd name="connsiteY1" fmla="*/ 4661052 h 4673434"/>
              <a:gd name="connsiteX2" fmla="*/ 538163 w 7528033"/>
              <a:gd name="connsiteY2" fmla="*/ 3702837 h 4673434"/>
              <a:gd name="connsiteX3" fmla="*/ 1340168 w 7528033"/>
              <a:gd name="connsiteY3" fmla="*/ 2878924 h 4673434"/>
              <a:gd name="connsiteX4" fmla="*/ 2613660 w 7528033"/>
              <a:gd name="connsiteY4" fmla="*/ 2154072 h 4673434"/>
              <a:gd name="connsiteX5" fmla="*/ 2621280 w 7528033"/>
              <a:gd name="connsiteY5" fmla="*/ 2151214 h 4673434"/>
              <a:gd name="connsiteX6" fmla="*/ 2628900 w 7528033"/>
              <a:gd name="connsiteY6" fmla="*/ 2155024 h 4673434"/>
              <a:gd name="connsiteX7" fmla="*/ 4513898 w 7528033"/>
              <a:gd name="connsiteY7" fmla="*/ 2794152 h 4673434"/>
              <a:gd name="connsiteX8" fmla="*/ 5841683 w 7528033"/>
              <a:gd name="connsiteY8" fmla="*/ 2562694 h 4673434"/>
              <a:gd name="connsiteX9" fmla="*/ 6102668 w 7528033"/>
              <a:gd name="connsiteY9" fmla="*/ 1252054 h 4673434"/>
              <a:gd name="connsiteX10" fmla="*/ 6256020 w 7528033"/>
              <a:gd name="connsiteY10" fmla="*/ 168109 h 4673434"/>
              <a:gd name="connsiteX11" fmla="*/ 7391400 w 7528033"/>
              <a:gd name="connsiteY11" fmla="*/ 7136 h 4673434"/>
              <a:gd name="connsiteX12" fmla="*/ 7384733 w 7528033"/>
              <a:gd name="connsiteY12" fmla="*/ 45236 h 4673434"/>
              <a:gd name="connsiteX13" fmla="*/ 6281738 w 7528033"/>
              <a:gd name="connsiteY13" fmla="*/ 196684 h 4673434"/>
              <a:gd name="connsiteX14" fmla="*/ 6139815 w 7528033"/>
              <a:gd name="connsiteY14" fmla="*/ 1242529 h 4673434"/>
              <a:gd name="connsiteX15" fmla="*/ 6187440 w 7528033"/>
              <a:gd name="connsiteY15" fmla="*/ 2064537 h 4673434"/>
              <a:gd name="connsiteX16" fmla="*/ 5866448 w 7528033"/>
              <a:gd name="connsiteY16" fmla="*/ 2593174 h 4673434"/>
              <a:gd name="connsiteX17" fmla="*/ 4510088 w 7528033"/>
              <a:gd name="connsiteY17" fmla="*/ 2833204 h 4673434"/>
              <a:gd name="connsiteX18" fmla="*/ 2620328 w 7528033"/>
              <a:gd name="connsiteY18" fmla="*/ 2194077 h 4673434"/>
              <a:gd name="connsiteX19" fmla="*/ 568643 w 7528033"/>
              <a:gd name="connsiteY19" fmla="*/ 3726649 h 4673434"/>
              <a:gd name="connsiteX20" fmla="*/ 36195 w 7528033"/>
              <a:gd name="connsiteY20" fmla="*/ 4673434 h 4673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7528033" h="4673434">
                <a:moveTo>
                  <a:pt x="36195" y="4673434"/>
                </a:moveTo>
                <a:lnTo>
                  <a:pt x="0" y="4661052"/>
                </a:lnTo>
                <a:cubicBezTo>
                  <a:pt x="953" y="4656289"/>
                  <a:pt x="145733" y="4224807"/>
                  <a:pt x="538163" y="3702837"/>
                </a:cubicBezTo>
                <a:cubicBezTo>
                  <a:pt x="768668" y="3396132"/>
                  <a:pt x="1038225" y="3118954"/>
                  <a:pt x="1340168" y="2878924"/>
                </a:cubicBezTo>
                <a:cubicBezTo>
                  <a:pt x="1717358" y="2577934"/>
                  <a:pt x="2145983" y="2334094"/>
                  <a:pt x="2613660" y="2154072"/>
                </a:cubicBezTo>
                <a:lnTo>
                  <a:pt x="2621280" y="2151214"/>
                </a:lnTo>
                <a:lnTo>
                  <a:pt x="2628900" y="2155024"/>
                </a:lnTo>
                <a:cubicBezTo>
                  <a:pt x="3289935" y="2497924"/>
                  <a:pt x="3941445" y="2718904"/>
                  <a:pt x="4513898" y="2794152"/>
                </a:cubicBezTo>
                <a:cubicBezTo>
                  <a:pt x="5095875" y="2871304"/>
                  <a:pt x="5554980" y="2790341"/>
                  <a:pt x="5841683" y="2562694"/>
                </a:cubicBezTo>
                <a:cubicBezTo>
                  <a:pt x="6168390" y="2302662"/>
                  <a:pt x="6257925" y="1849271"/>
                  <a:pt x="6102668" y="1252054"/>
                </a:cubicBezTo>
                <a:cubicBezTo>
                  <a:pt x="5969318" y="741514"/>
                  <a:pt x="6020753" y="376706"/>
                  <a:pt x="6256020" y="168109"/>
                </a:cubicBezTo>
                <a:cubicBezTo>
                  <a:pt x="6480810" y="-31916"/>
                  <a:pt x="7203281" y="27615"/>
                  <a:pt x="7391400" y="7136"/>
                </a:cubicBezTo>
                <a:cubicBezTo>
                  <a:pt x="7579519" y="-13343"/>
                  <a:pt x="7569677" y="13645"/>
                  <a:pt x="7384733" y="45236"/>
                </a:cubicBezTo>
                <a:cubicBezTo>
                  <a:pt x="7199789" y="76827"/>
                  <a:pt x="6550343" y="-41441"/>
                  <a:pt x="6281738" y="196684"/>
                </a:cubicBezTo>
                <a:cubicBezTo>
                  <a:pt x="6058853" y="394804"/>
                  <a:pt x="6011228" y="747229"/>
                  <a:pt x="6139815" y="1242529"/>
                </a:cubicBezTo>
                <a:cubicBezTo>
                  <a:pt x="6221730" y="1557806"/>
                  <a:pt x="6237923" y="1834031"/>
                  <a:pt x="6187440" y="2064537"/>
                </a:cubicBezTo>
                <a:cubicBezTo>
                  <a:pt x="6138863" y="2283612"/>
                  <a:pt x="6031230" y="2460777"/>
                  <a:pt x="5866448" y="2593174"/>
                </a:cubicBezTo>
                <a:cubicBezTo>
                  <a:pt x="5572125" y="2828441"/>
                  <a:pt x="5102543" y="2911309"/>
                  <a:pt x="4510088" y="2833204"/>
                </a:cubicBezTo>
                <a:cubicBezTo>
                  <a:pt x="3935730" y="2757004"/>
                  <a:pt x="3282315" y="2536024"/>
                  <a:pt x="2620328" y="2194077"/>
                </a:cubicBezTo>
                <a:cubicBezTo>
                  <a:pt x="1574483" y="2598889"/>
                  <a:pt x="927735" y="3251352"/>
                  <a:pt x="568643" y="3726649"/>
                </a:cubicBezTo>
                <a:cubicBezTo>
                  <a:pt x="180023" y="4242904"/>
                  <a:pt x="37148" y="4668672"/>
                  <a:pt x="36195" y="4673434"/>
                </a:cubicBezTo>
                <a:close/>
              </a:path>
            </a:pathLst>
          </a:custGeom>
          <a:gradFill>
            <a:gsLst>
              <a:gs pos="99000">
                <a:schemeClr val="accent2">
                  <a:alpha val="0"/>
                </a:schemeClr>
              </a:gs>
              <a:gs pos="32000">
                <a:srgbClr val="12ABDB">
                  <a:alpha val="17000"/>
                </a:srgbClr>
              </a:gs>
              <a:gs pos="17000">
                <a:schemeClr val="accent2">
                  <a:alpha val="0"/>
                </a:schemeClr>
              </a:gs>
              <a:gs pos="49000">
                <a:srgbClr val="12ABDB"/>
              </a:gs>
              <a:gs pos="70000">
                <a:schemeClr val="accent2"/>
              </a:gs>
            </a:gsLst>
            <a:lin ang="162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339007"/>
            <a:ext cx="11386134" cy="2031325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100000"/>
              </a:lnSpc>
              <a:defRPr sz="66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242574"/>
            <a:ext cx="11379200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24" name="Image 10">
            <a:extLst>
              <a:ext uri="{FF2B5EF4-FFF2-40B4-BE49-F238E27FC236}">
                <a16:creationId xmlns:a16="http://schemas.microsoft.com/office/drawing/2014/main" id="{9BB6E5F7-D27B-CFBD-AC68-D2F55A1B8C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2000" y="187155"/>
            <a:ext cx="5220000" cy="1285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859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colum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94515F3-E20E-47CC-8314-0A030AB3D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3" y="1327151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1047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71047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30755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30755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6509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A66D25-366C-4142-B5D9-9A4107D8B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9A63D1-B6C5-4F10-ABD1-7445EB2D8ADC}"/>
              </a:ext>
            </a:extLst>
          </p:cNvPr>
          <p:cNvSpPr/>
          <p:nvPr userDrawn="1"/>
        </p:nvSpPr>
        <p:spPr>
          <a:xfrm>
            <a:off x="407988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E9BC27-7262-47DA-99EA-4AB1F52A8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016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24DC023-E500-4824-A661-003A568299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015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9DEBB0-4052-42E9-B8A1-20FEA957F747}"/>
              </a:ext>
            </a:extLst>
          </p:cNvPr>
          <p:cNvSpPr/>
          <p:nvPr userDrawn="1"/>
        </p:nvSpPr>
        <p:spPr>
          <a:xfrm>
            <a:off x="4333875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BBF7568-EC18-40A1-B3C2-1E64D0BFDEF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50903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336B7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B1037A2D-940F-4255-984B-C4A7AABBB72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650903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0917E2-630D-4941-BA4B-7EB65D4A7850}"/>
              </a:ext>
            </a:extLst>
          </p:cNvPr>
          <p:cNvSpPr/>
          <p:nvPr userDrawn="1"/>
        </p:nvSpPr>
        <p:spPr>
          <a:xfrm>
            <a:off x="8259763" y="2406300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C0A1379-EE65-47B3-B113-45D1ED57400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576791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BA2980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849E3D5-EF9E-46F2-9C73-58806A392B3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576791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7407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7F0C9DF-D1FA-45A1-91F6-147FDC3E7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7097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216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igh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89E73A-8AF6-4995-85C4-948312F9A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E7C5D7A7-45E9-4756-B28B-644907783F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1447800"/>
            <a:ext cx="11406188" cy="495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161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 dar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64961"/>
            <a:ext cx="11329987" cy="1477328"/>
          </a:xfrm>
        </p:spPr>
        <p:txBody>
          <a:bodyPr lIns="0" bIns="0" anchor="b" anchorCtr="0">
            <a:spAutoFit/>
          </a:bodyPr>
          <a:lstStyle>
            <a:lvl1pPr algn="l">
              <a:lnSpc>
                <a:spcPct val="80000"/>
              </a:lnSpc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3772800"/>
            <a:ext cx="11329987" cy="307777"/>
          </a:xfrm>
        </p:spPr>
        <p:txBody>
          <a:bodyPr lIns="0" t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744C52A-2030-4EFF-B1D2-B60B2B2798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4813" y="1825079"/>
            <a:ext cx="4611067" cy="307777"/>
          </a:xfrm>
        </p:spPr>
        <p:txBody>
          <a:bodyPr wrap="square" anchor="b">
            <a:spAutoFit/>
          </a:bodyPr>
          <a:lstStyle>
            <a:lvl1pPr>
              <a:defRPr>
                <a:solidFill>
                  <a:schemeClr val="accent2"/>
                </a:solidFill>
                <a:latin typeface="Ubuntu Light" panose="020B0304030602030204" pitchFamily="34" charset="0"/>
              </a:defRPr>
            </a:lvl1pPr>
            <a:lvl2pPr marL="88900" indent="0">
              <a:buNone/>
              <a:defRPr/>
            </a:lvl2pPr>
          </a:lstStyle>
          <a:p>
            <a:pPr lvl="0"/>
            <a:r>
              <a:rPr lang="fr-FR"/>
              <a:t>INSERT A LABEL/ALBEIT</a:t>
            </a:r>
          </a:p>
        </p:txBody>
      </p:sp>
    </p:spTree>
    <p:extLst>
      <p:ext uri="{BB962C8B-B14F-4D97-AF65-F5344CB8AC3E}">
        <p14:creationId xmlns:p14="http://schemas.microsoft.com/office/powerpoint/2010/main" val="3060803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ple">
    <p:bg>
      <p:bgPr>
        <a:solidFill>
          <a:srgbClr val="2B0A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6403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 white Pi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EB2D5A7-8ABD-41FC-934A-8D0E9E07B9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904137 w 12192000"/>
              <a:gd name="connsiteY0" fmla="*/ 374761 h 6858000"/>
              <a:gd name="connsiteX1" fmla="*/ 11851113 w 12192000"/>
              <a:gd name="connsiteY1" fmla="*/ 409256 h 6858000"/>
              <a:gd name="connsiteX2" fmla="*/ 11813853 w 12192000"/>
              <a:gd name="connsiteY2" fmla="*/ 476806 h 6858000"/>
              <a:gd name="connsiteX3" fmla="*/ 11772294 w 12192000"/>
              <a:gd name="connsiteY3" fmla="*/ 537171 h 6858000"/>
              <a:gd name="connsiteX4" fmla="*/ 11703507 w 12192000"/>
              <a:gd name="connsiteY4" fmla="*/ 580289 h 6858000"/>
              <a:gd name="connsiteX5" fmla="*/ 11747932 w 12192000"/>
              <a:gd name="connsiteY5" fmla="*/ 591787 h 6858000"/>
              <a:gd name="connsiteX6" fmla="*/ 11796656 w 12192000"/>
              <a:gd name="connsiteY6" fmla="*/ 587475 h 6858000"/>
              <a:gd name="connsiteX7" fmla="*/ 11879774 w 12192000"/>
              <a:gd name="connsiteY7" fmla="*/ 551544 h 6858000"/>
              <a:gd name="connsiteX8" fmla="*/ 11816719 w 12192000"/>
              <a:gd name="connsiteY8" fmla="*/ 494054 h 6858000"/>
              <a:gd name="connsiteX9" fmla="*/ 11904137 w 12192000"/>
              <a:gd name="connsiteY9" fmla="*/ 521361 h 6858000"/>
              <a:gd name="connsiteX10" fmla="*/ 11965759 w 12192000"/>
              <a:gd name="connsiteY10" fmla="*/ 460997 h 6858000"/>
              <a:gd name="connsiteX11" fmla="*/ 11964326 w 12192000"/>
              <a:gd name="connsiteY11" fmla="*/ 404944 h 6858000"/>
              <a:gd name="connsiteX12" fmla="*/ 11904137 w 12192000"/>
              <a:gd name="connsiteY12" fmla="*/ 374761 h 6858000"/>
              <a:gd name="connsiteX13" fmla="*/ 11779497 w 12192000"/>
              <a:gd name="connsiteY13" fmla="*/ 210928 h 6858000"/>
              <a:gd name="connsiteX14" fmla="*/ 11559747 w 12192000"/>
              <a:gd name="connsiteY14" fmla="*/ 439472 h 6858000"/>
              <a:gd name="connsiteX15" fmla="*/ 11635870 w 12192000"/>
              <a:gd name="connsiteY15" fmla="*/ 550150 h 6858000"/>
              <a:gd name="connsiteX16" fmla="*/ 11720610 w 12192000"/>
              <a:gd name="connsiteY16" fmla="*/ 545838 h 6858000"/>
              <a:gd name="connsiteX17" fmla="*/ 11780933 w 12192000"/>
              <a:gd name="connsiteY17" fmla="*/ 489780 h 6858000"/>
              <a:gd name="connsiteX18" fmla="*/ 11826894 w 12192000"/>
              <a:gd name="connsiteY18" fmla="*/ 413599 h 6858000"/>
              <a:gd name="connsiteX19" fmla="*/ 11888654 w 12192000"/>
              <a:gd name="connsiteY19" fmla="*/ 361853 h 6858000"/>
              <a:gd name="connsiteX20" fmla="*/ 11963340 w 12192000"/>
              <a:gd name="connsiteY20" fmla="*/ 380539 h 6858000"/>
              <a:gd name="connsiteX21" fmla="*/ 11900144 w 12192000"/>
              <a:gd name="connsiteY21" fmla="*/ 284235 h 6858000"/>
              <a:gd name="connsiteX22" fmla="*/ 11789551 w 12192000"/>
              <a:gd name="connsiteY22" fmla="*/ 215240 h 6858000"/>
              <a:gd name="connsiteX23" fmla="*/ 11779497 w 12192000"/>
              <a:gd name="connsiteY23" fmla="*/ 210928 h 6858000"/>
              <a:gd name="connsiteX24" fmla="*/ 0 w 12192000"/>
              <a:gd name="connsiteY24" fmla="*/ 0 h 6858000"/>
              <a:gd name="connsiteX25" fmla="*/ 12192000 w 12192000"/>
              <a:gd name="connsiteY25" fmla="*/ 0 h 6858000"/>
              <a:gd name="connsiteX26" fmla="*/ 12192000 w 12192000"/>
              <a:gd name="connsiteY26" fmla="*/ 6858000 h 6858000"/>
              <a:gd name="connsiteX27" fmla="*/ 0 w 12192000"/>
              <a:gd name="connsiteY2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2000" h="6858000">
                <a:moveTo>
                  <a:pt x="11904137" y="374761"/>
                </a:moveTo>
                <a:cubicBezTo>
                  <a:pt x="11881208" y="376199"/>
                  <a:pt x="11864011" y="390571"/>
                  <a:pt x="11851113" y="409256"/>
                </a:cubicBezTo>
                <a:cubicBezTo>
                  <a:pt x="11835349" y="429377"/>
                  <a:pt x="11825318" y="453810"/>
                  <a:pt x="11813853" y="476806"/>
                </a:cubicBezTo>
                <a:cubicBezTo>
                  <a:pt x="11802389" y="498365"/>
                  <a:pt x="11789491" y="518487"/>
                  <a:pt x="11772294" y="537171"/>
                </a:cubicBezTo>
                <a:cubicBezTo>
                  <a:pt x="11753664" y="557293"/>
                  <a:pt x="11730735" y="573103"/>
                  <a:pt x="11703507" y="580289"/>
                </a:cubicBezTo>
                <a:cubicBezTo>
                  <a:pt x="11716405" y="588912"/>
                  <a:pt x="11733601" y="591787"/>
                  <a:pt x="11747932" y="591787"/>
                </a:cubicBezTo>
                <a:cubicBezTo>
                  <a:pt x="11763696" y="593224"/>
                  <a:pt x="11780893" y="590350"/>
                  <a:pt x="11796656" y="587475"/>
                </a:cubicBezTo>
                <a:cubicBezTo>
                  <a:pt x="11826751" y="583163"/>
                  <a:pt x="11858278" y="573103"/>
                  <a:pt x="11879774" y="551544"/>
                </a:cubicBezTo>
                <a:cubicBezTo>
                  <a:pt x="11845381" y="551544"/>
                  <a:pt x="11818153" y="528548"/>
                  <a:pt x="11816719" y="494054"/>
                </a:cubicBezTo>
                <a:cubicBezTo>
                  <a:pt x="11838216" y="519924"/>
                  <a:pt x="11871176" y="529985"/>
                  <a:pt x="11904137" y="521361"/>
                </a:cubicBezTo>
                <a:cubicBezTo>
                  <a:pt x="11932798" y="512738"/>
                  <a:pt x="11957160" y="489742"/>
                  <a:pt x="11965759" y="460997"/>
                </a:cubicBezTo>
                <a:cubicBezTo>
                  <a:pt x="11971491" y="442312"/>
                  <a:pt x="11972924" y="423628"/>
                  <a:pt x="11964326" y="404944"/>
                </a:cubicBezTo>
                <a:cubicBezTo>
                  <a:pt x="11952861" y="383385"/>
                  <a:pt x="11928499" y="373324"/>
                  <a:pt x="11904137" y="374761"/>
                </a:cubicBezTo>
                <a:close/>
                <a:moveTo>
                  <a:pt x="11779497" y="210928"/>
                </a:moveTo>
                <a:cubicBezTo>
                  <a:pt x="11730664" y="271298"/>
                  <a:pt x="11559747" y="314420"/>
                  <a:pt x="11559747" y="439472"/>
                </a:cubicBezTo>
                <a:cubicBezTo>
                  <a:pt x="11559747" y="486906"/>
                  <a:pt x="11589909" y="532902"/>
                  <a:pt x="11635870" y="550150"/>
                </a:cubicBezTo>
                <a:cubicBezTo>
                  <a:pt x="11663159" y="560212"/>
                  <a:pt x="11693320" y="558775"/>
                  <a:pt x="11720610" y="545838"/>
                </a:cubicBezTo>
                <a:cubicBezTo>
                  <a:pt x="11746463" y="534339"/>
                  <a:pt x="11765134" y="514216"/>
                  <a:pt x="11780933" y="489780"/>
                </a:cubicBezTo>
                <a:cubicBezTo>
                  <a:pt x="11798168" y="465345"/>
                  <a:pt x="11811095" y="439472"/>
                  <a:pt x="11826894" y="413599"/>
                </a:cubicBezTo>
                <a:cubicBezTo>
                  <a:pt x="11841257" y="390601"/>
                  <a:pt x="11861365" y="367603"/>
                  <a:pt x="11888654" y="361853"/>
                </a:cubicBezTo>
                <a:cubicBezTo>
                  <a:pt x="11914507" y="354666"/>
                  <a:pt x="11944668" y="361853"/>
                  <a:pt x="11963340" y="380539"/>
                </a:cubicBezTo>
                <a:cubicBezTo>
                  <a:pt x="11951850" y="343167"/>
                  <a:pt x="11930306" y="311545"/>
                  <a:pt x="11900144" y="284235"/>
                </a:cubicBezTo>
                <a:cubicBezTo>
                  <a:pt x="11867110" y="254050"/>
                  <a:pt x="11829767" y="232489"/>
                  <a:pt x="11789551" y="215240"/>
                </a:cubicBezTo>
                <a:cubicBezTo>
                  <a:pt x="11786678" y="213803"/>
                  <a:pt x="11782369" y="212365"/>
                  <a:pt x="11779497" y="21092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sert picture, edit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</p:spTree>
    <p:extLst>
      <p:ext uri="{BB962C8B-B14F-4D97-AF65-F5344CB8AC3E}">
        <p14:creationId xmlns:p14="http://schemas.microsoft.com/office/powerpoint/2010/main" val="4268248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 blue Pi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B335D29-1EFC-4491-AD11-74BC952F53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785528 w 12192000"/>
              <a:gd name="connsiteY0" fmla="*/ 202927 h 6858000"/>
              <a:gd name="connsiteX1" fmla="*/ 11561144 w 12192000"/>
              <a:gd name="connsiteY1" fmla="*/ 434840 h 6858000"/>
              <a:gd name="connsiteX2" fmla="*/ 11638872 w 12192000"/>
              <a:gd name="connsiteY2" fmla="*/ 549328 h 6858000"/>
              <a:gd name="connsiteX3" fmla="*/ 11718066 w 12192000"/>
              <a:gd name="connsiteY3" fmla="*/ 550796 h 6858000"/>
              <a:gd name="connsiteX4" fmla="*/ 11750147 w 12192000"/>
              <a:gd name="connsiteY4" fmla="*/ 534834 h 6858000"/>
              <a:gd name="connsiteX5" fmla="*/ 11776529 w 12192000"/>
              <a:gd name="connsiteY5" fmla="*/ 511343 h 6858000"/>
              <a:gd name="connsiteX6" fmla="*/ 11769485 w 12192000"/>
              <a:gd name="connsiteY6" fmla="*/ 534267 h 6858000"/>
              <a:gd name="connsiteX7" fmla="*/ 11704684 w 12192000"/>
              <a:gd name="connsiteY7" fmla="*/ 577228 h 6858000"/>
              <a:gd name="connsiteX8" fmla="*/ 11758983 w 12192000"/>
              <a:gd name="connsiteY8" fmla="*/ 591915 h 6858000"/>
              <a:gd name="connsiteX9" fmla="*/ 11888125 w 12192000"/>
              <a:gd name="connsiteY9" fmla="*/ 549322 h 6858000"/>
              <a:gd name="connsiteX10" fmla="*/ 11823554 w 12192000"/>
              <a:gd name="connsiteY10" fmla="*/ 492041 h 6858000"/>
              <a:gd name="connsiteX11" fmla="*/ 11888125 w 12192000"/>
              <a:gd name="connsiteY11" fmla="*/ 522885 h 6858000"/>
              <a:gd name="connsiteX12" fmla="*/ 11973357 w 12192000"/>
              <a:gd name="connsiteY12" fmla="*/ 465260 h 6858000"/>
              <a:gd name="connsiteX13" fmla="*/ 11980572 w 12192000"/>
              <a:gd name="connsiteY13" fmla="*/ 428927 h 6858000"/>
              <a:gd name="connsiteX14" fmla="*/ 11980580 w 12192000"/>
              <a:gd name="connsiteY14" fmla="*/ 428969 h 6858000"/>
              <a:gd name="connsiteX15" fmla="*/ 11980580 w 12192000"/>
              <a:gd name="connsiteY15" fmla="*/ 428886 h 6858000"/>
              <a:gd name="connsiteX16" fmla="*/ 11980580 w 12192000"/>
              <a:gd name="connsiteY16" fmla="*/ 426033 h 6858000"/>
              <a:gd name="connsiteX17" fmla="*/ 11908719 w 12192000"/>
              <a:gd name="connsiteY17" fmla="*/ 277785 h 6858000"/>
              <a:gd name="connsiteX18" fmla="*/ 11795794 w 12192000"/>
              <a:gd name="connsiteY18" fmla="*/ 207330 h 6858000"/>
              <a:gd name="connsiteX19" fmla="*/ 11785528 w 12192000"/>
              <a:gd name="connsiteY19" fmla="*/ 202927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5528" y="202927"/>
                </a:moveTo>
                <a:cubicBezTo>
                  <a:pt x="11735665" y="263107"/>
                  <a:pt x="11561144" y="308609"/>
                  <a:pt x="11561144" y="434840"/>
                </a:cubicBezTo>
                <a:cubicBezTo>
                  <a:pt x="11561144" y="484745"/>
                  <a:pt x="11591942" y="531715"/>
                  <a:pt x="11638872" y="549328"/>
                </a:cubicBezTo>
                <a:cubicBezTo>
                  <a:pt x="11665270" y="559603"/>
                  <a:pt x="11691668" y="559603"/>
                  <a:pt x="11718066" y="550796"/>
                </a:cubicBezTo>
                <a:cubicBezTo>
                  <a:pt x="11729799" y="547127"/>
                  <a:pt x="11740431" y="541622"/>
                  <a:pt x="11750147" y="534834"/>
                </a:cubicBezTo>
                <a:lnTo>
                  <a:pt x="11776529" y="511343"/>
                </a:lnTo>
                <a:lnTo>
                  <a:pt x="11769485" y="534267"/>
                </a:lnTo>
                <a:cubicBezTo>
                  <a:pt x="11757790" y="556023"/>
                  <a:pt x="11733301" y="572822"/>
                  <a:pt x="11704684" y="577228"/>
                </a:cubicBezTo>
                <a:cubicBezTo>
                  <a:pt x="11713489" y="586040"/>
                  <a:pt x="11734035" y="591915"/>
                  <a:pt x="11758983" y="591915"/>
                </a:cubicBezTo>
                <a:cubicBezTo>
                  <a:pt x="11804476" y="591915"/>
                  <a:pt x="11860242" y="578696"/>
                  <a:pt x="11888125" y="549322"/>
                </a:cubicBezTo>
                <a:cubicBezTo>
                  <a:pt x="11849970" y="550790"/>
                  <a:pt x="11825022" y="525822"/>
                  <a:pt x="11823554" y="492041"/>
                </a:cubicBezTo>
                <a:cubicBezTo>
                  <a:pt x="11841164" y="514072"/>
                  <a:pt x="11863177" y="522885"/>
                  <a:pt x="11888125" y="522885"/>
                </a:cubicBezTo>
                <a:cubicBezTo>
                  <a:pt x="11926648" y="522885"/>
                  <a:pt x="11959392" y="498926"/>
                  <a:pt x="11973357" y="465260"/>
                </a:cubicBezTo>
                <a:lnTo>
                  <a:pt x="11980572" y="428927"/>
                </a:lnTo>
                <a:lnTo>
                  <a:pt x="11980580" y="428969"/>
                </a:lnTo>
                <a:lnTo>
                  <a:pt x="11980580" y="428886"/>
                </a:lnTo>
                <a:lnTo>
                  <a:pt x="11980580" y="426033"/>
                </a:lnTo>
                <a:cubicBezTo>
                  <a:pt x="11980580" y="367321"/>
                  <a:pt x="11951249" y="317416"/>
                  <a:pt x="11908719" y="277785"/>
                </a:cubicBezTo>
                <a:cubicBezTo>
                  <a:pt x="11876454" y="246961"/>
                  <a:pt x="11836857" y="224944"/>
                  <a:pt x="11795794" y="207330"/>
                </a:cubicBezTo>
                <a:cubicBezTo>
                  <a:pt x="11792860" y="205863"/>
                  <a:pt x="11789927" y="204395"/>
                  <a:pt x="11785528" y="202927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de-DE"/>
              <a:t>Insert picture, add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</p:spTree>
    <p:extLst>
      <p:ext uri="{BB962C8B-B14F-4D97-AF65-F5344CB8AC3E}">
        <p14:creationId xmlns:p14="http://schemas.microsoft.com/office/powerpoint/2010/main" val="1786515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1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 27">
            <a:extLst>
              <a:ext uri="{FF2B5EF4-FFF2-40B4-BE49-F238E27FC236}">
                <a16:creationId xmlns:a16="http://schemas.microsoft.com/office/drawing/2014/main" id="{CFD4BD67-7A96-4F02-AD8B-7157189FD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50" t="23693" r="10370" b="21576"/>
          <a:stretch/>
        </p:blipFill>
        <p:spPr>
          <a:xfrm rot="1808368" flipV="1">
            <a:off x="4403152" y="337083"/>
            <a:ext cx="8831279" cy="4103533"/>
          </a:xfrm>
          <a:prstGeom prst="rect">
            <a:avLst/>
          </a:prstGeom>
        </p:spPr>
      </p:pic>
      <p:pic>
        <p:nvPicPr>
          <p:cNvPr id="21" name="Picture 7" descr="facebook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6720" y="4968013"/>
            <a:ext cx="333195" cy="333195"/>
          </a:xfrm>
          <a:prstGeom prst="rect">
            <a:avLst/>
          </a:prstGeom>
          <a:noFill/>
        </p:spPr>
      </p:pic>
      <p:pic>
        <p:nvPicPr>
          <p:cNvPr id="17" name="Picture 2" descr="LinkedIn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097" y="4968013"/>
            <a:ext cx="333195" cy="333195"/>
          </a:xfrm>
          <a:prstGeom prst="rect">
            <a:avLst/>
          </a:prstGeom>
          <a:noFill/>
        </p:spPr>
      </p:pic>
      <p:pic>
        <p:nvPicPr>
          <p:cNvPr id="18" name="Picture 4" descr="SlideShare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93474" y="4968013"/>
            <a:ext cx="333195" cy="333195"/>
          </a:xfrm>
          <a:prstGeom prst="rect">
            <a:avLst/>
          </a:prstGeom>
          <a:noFill/>
        </p:spPr>
      </p:pic>
      <p:pic>
        <p:nvPicPr>
          <p:cNvPr id="19" name="Picture 5" descr="Twitter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576851" y="4968013"/>
            <a:ext cx="333195" cy="333195"/>
          </a:xfrm>
          <a:prstGeom prst="rect">
            <a:avLst/>
          </a:prstGeom>
          <a:noFill/>
        </p:spPr>
      </p:pic>
      <p:pic>
        <p:nvPicPr>
          <p:cNvPr id="20" name="Picture 6" descr="YouTube">
            <a:hlinkClick r:id="rId11"/>
          </p:cNvPr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960227" y="4968013"/>
            <a:ext cx="333195" cy="333195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/>
        </p:nvSpPr>
        <p:spPr>
          <a:xfrm>
            <a:off x="426720" y="5810190"/>
            <a:ext cx="3293016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Copyright © 2023 Capgemini. All rights reserved.</a:t>
            </a:r>
          </a:p>
        </p:txBody>
      </p:sp>
      <p:pic>
        <p:nvPicPr>
          <p:cNvPr id="41" name="Image 21">
            <a:extLst>
              <a:ext uri="{FF2B5EF4-FFF2-40B4-BE49-F238E27FC236}">
                <a16:creationId xmlns:a16="http://schemas.microsoft.com/office/drawing/2014/main" id="{171FD7EF-1833-B9F8-F206-F8B938D03EEB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6265"/>
            <a:ext cx="5040000" cy="1241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612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0D51B9-A61A-4FDC-9E0F-E2A63E0E94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303838" y="0"/>
            <a:ext cx="6888162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, edit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3129"/>
            <a:ext cx="11386134" cy="2215991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8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24" name="Image 8">
            <a:extLst>
              <a:ext uri="{FF2B5EF4-FFF2-40B4-BE49-F238E27FC236}">
                <a16:creationId xmlns:a16="http://schemas.microsoft.com/office/drawing/2014/main" id="{06E1A9A5-A904-AA36-E496-E12F67974F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96" y="94849"/>
            <a:ext cx="5040000" cy="1241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332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inal Slide 2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:a16="http://schemas.microsoft.com/office/drawing/2014/main" id="{0489A022-D524-4B27-A5EC-7E24500CC9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214" y="1295400"/>
            <a:ext cx="9702386" cy="6043284"/>
          </a:xfrm>
          <a:prstGeom prst="rect">
            <a:avLst/>
          </a:prstGeom>
        </p:spPr>
      </p:pic>
      <p:pic>
        <p:nvPicPr>
          <p:cNvPr id="22" name="Picture 7" descr="facebook">
            <a:hlinkClick r:id="rId3"/>
            <a:extLst>
              <a:ext uri="{FF2B5EF4-FFF2-40B4-BE49-F238E27FC236}">
                <a16:creationId xmlns:a16="http://schemas.microsoft.com/office/drawing/2014/main" id="{BCC76D32-C587-45AA-A26C-ED5B038C86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6720" y="5328053"/>
            <a:ext cx="333195" cy="333195"/>
          </a:xfrm>
          <a:prstGeom prst="rect">
            <a:avLst/>
          </a:prstGeom>
          <a:noFill/>
        </p:spPr>
      </p:pic>
      <p:pic>
        <p:nvPicPr>
          <p:cNvPr id="17" name="Picture 2" descr="LinkedIn">
            <a:hlinkClick r:id="rId5"/>
            <a:extLst>
              <a:ext uri="{FF2B5EF4-FFF2-40B4-BE49-F238E27FC236}">
                <a16:creationId xmlns:a16="http://schemas.microsoft.com/office/drawing/2014/main" id="{F6DF1D6E-8462-43E1-AFC5-8A5C855024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097" y="5328053"/>
            <a:ext cx="333195" cy="333195"/>
          </a:xfrm>
          <a:prstGeom prst="rect">
            <a:avLst/>
          </a:prstGeom>
          <a:noFill/>
        </p:spPr>
      </p:pic>
      <p:pic>
        <p:nvPicPr>
          <p:cNvPr id="19" name="Picture 4" descr="SlideShare">
            <a:hlinkClick r:id="rId7"/>
            <a:extLst>
              <a:ext uri="{FF2B5EF4-FFF2-40B4-BE49-F238E27FC236}">
                <a16:creationId xmlns:a16="http://schemas.microsoft.com/office/drawing/2014/main" id="{DA74C6D2-FFE3-4CE8-B52D-0A33097AE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93474" y="5328053"/>
            <a:ext cx="333195" cy="333195"/>
          </a:xfrm>
          <a:prstGeom prst="rect">
            <a:avLst/>
          </a:prstGeom>
          <a:noFill/>
        </p:spPr>
      </p:pic>
      <p:pic>
        <p:nvPicPr>
          <p:cNvPr id="20" name="Picture 5" descr="Twitter">
            <a:hlinkClick r:id="rId9"/>
            <a:extLst>
              <a:ext uri="{FF2B5EF4-FFF2-40B4-BE49-F238E27FC236}">
                <a16:creationId xmlns:a16="http://schemas.microsoft.com/office/drawing/2014/main" id="{14E10122-92A2-4535-9737-8C1BE0EE0A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576851" y="5328053"/>
            <a:ext cx="333195" cy="333195"/>
          </a:xfrm>
          <a:prstGeom prst="rect">
            <a:avLst/>
          </a:prstGeom>
          <a:noFill/>
        </p:spPr>
      </p:pic>
      <p:pic>
        <p:nvPicPr>
          <p:cNvPr id="21" name="Picture 6" descr="YouTube">
            <a:hlinkClick r:id="rId11"/>
            <a:extLst>
              <a:ext uri="{FF2B5EF4-FFF2-40B4-BE49-F238E27FC236}">
                <a16:creationId xmlns:a16="http://schemas.microsoft.com/office/drawing/2014/main" id="{BA6EF96A-02CA-41A1-9095-358FE748667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960227" y="5328053"/>
            <a:ext cx="333195" cy="333195"/>
          </a:xfrm>
          <a:prstGeom prst="rect">
            <a:avLst/>
          </a:prstGeom>
          <a:noFill/>
        </p:spPr>
      </p:pic>
      <p:sp>
        <p:nvSpPr>
          <p:cNvPr id="57" name="Rectangle 56"/>
          <p:cNvSpPr/>
          <p:nvPr/>
        </p:nvSpPr>
        <p:spPr>
          <a:xfrm>
            <a:off x="426720" y="5840235"/>
            <a:ext cx="3221008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 lvl="0"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Copyright © 2023 Capgemini. All rights reserved.</a:t>
            </a:r>
          </a:p>
        </p:txBody>
      </p:sp>
      <p:pic>
        <p:nvPicPr>
          <p:cNvPr id="27" name="Image 28">
            <a:extLst>
              <a:ext uri="{FF2B5EF4-FFF2-40B4-BE49-F238E27FC236}">
                <a16:creationId xmlns:a16="http://schemas.microsoft.com/office/drawing/2014/main" id="{E47E6E3D-4D76-675B-3AF0-CEA60BEB58C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4013" y="5369182"/>
            <a:ext cx="5040000" cy="1241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06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81E5C78D-936C-4606-90E1-3C4AA92B7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04813"/>
            <a:ext cx="9661695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438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7843487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Full Pictu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3678123"/>
            <a:ext cx="11386134" cy="830997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6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7" name="Image 4">
            <a:extLst>
              <a:ext uri="{FF2B5EF4-FFF2-40B4-BE49-F238E27FC236}">
                <a16:creationId xmlns:a16="http://schemas.microsoft.com/office/drawing/2014/main" id="{E1288589-1330-4D89-99D3-5B8D6A86E0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2000" y="187155"/>
            <a:ext cx="5220000" cy="1285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60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2EBDB0D-AC97-40F0-9DD9-F997B00816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474929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74F36F-3194-40C1-BFCB-D2FC8CB29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88188"/>
            <a:ext cx="4323035" cy="239274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Oval 20">
            <a:extLst>
              <a:ext uri="{FF2B5EF4-FFF2-40B4-BE49-F238E27FC236}">
                <a16:creationId xmlns:a16="http://schemas.microsoft.com/office/drawing/2014/main" id="{0B27F5C5-C656-4F2F-9EEE-B93F6E79E7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711496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811B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C41C771-7ED2-45AF-884F-E0E275C6B34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498013" y="104048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A82ADF8-12C7-4D27-8457-7F3D1C93EB4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7432" y="518014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18CF815-87D3-425A-8169-07DAC599615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87433" y="936969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Oval 20">
            <a:extLst>
              <a:ext uri="{FF2B5EF4-FFF2-40B4-BE49-F238E27FC236}">
                <a16:creationId xmlns:a16="http://schemas.microsoft.com/office/drawing/2014/main" id="{71209714-A86B-492A-AC18-2DBD1D17EB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2656077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590A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CDF667B-1AA2-4981-B115-B40754E318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98013" y="299622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49B542E-285C-4837-B671-696E4DC001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87432" y="2563381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9A45E63-A970-497F-9E53-8D389A8457F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87433" y="2982336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Oval 20">
            <a:extLst>
              <a:ext uri="{FF2B5EF4-FFF2-40B4-BE49-F238E27FC236}">
                <a16:creationId xmlns:a16="http://schemas.microsoft.com/office/drawing/2014/main" id="{F88C0E2C-E612-44EC-9013-AD68C65B67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4780395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A600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411BF5D-81E9-4AC1-AE6D-53DC26B2ECA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498013" y="510784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2676D57-7318-4038-8625-151D4DD857E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87432" y="4647262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AB98D4C-7485-4468-A517-B5B92B48F38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7433" y="5066217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08407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192909"/>
            <a:ext cx="5591944" cy="526042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00059" y="119290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0059" y="186504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9" y="253718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0059" y="320932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0059" y="388146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00059" y="455360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00059" y="522574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0059" y="589788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52824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006B5C2B-B0BF-4136-9EC7-0E7F54D1D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447201"/>
            <a:ext cx="11379201" cy="502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6307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899138"/>
            <a:ext cx="11379201" cy="45706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946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485187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96D1AE-BB05-402A-8454-CE893B604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2" y="1327151"/>
            <a:ext cx="5600701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0070AD"/>
                </a:solidFill>
                <a:latin typeface="+mn-lt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2205318"/>
            <a:ext cx="5600701" cy="4257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6013" y="1327151"/>
            <a:ext cx="5588001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0070AD"/>
                </a:solidFill>
                <a:latin typeface="+mn-lt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6013" y="2205318"/>
            <a:ext cx="5594351" cy="42573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331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04813" y="388188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TITLE</a:t>
            </a:r>
            <a:endParaRPr lang="en-US" dirty="0"/>
          </a:p>
        </p:txBody>
      </p:sp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4813" y="1327150"/>
            <a:ext cx="11376880" cy="51355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grpSp>
        <p:nvGrpSpPr>
          <p:cNvPr id="94" name="Groupe 1">
            <a:extLst>
              <a:ext uri="{FF2B5EF4-FFF2-40B4-BE49-F238E27FC236}">
                <a16:creationId xmlns:a16="http://schemas.microsoft.com/office/drawing/2014/main" id="{11A3E882-4152-49CC-A658-0BA2BD4CCF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562163" y="205059"/>
            <a:ext cx="419436" cy="388988"/>
            <a:chOff x="11501102" y="171573"/>
            <a:chExt cx="419436" cy="388988"/>
          </a:xfrm>
        </p:grpSpPr>
        <p:sp>
          <p:nvSpPr>
            <p:cNvPr id="95" name="Freeform 13">
              <a:extLst>
                <a:ext uri="{FF2B5EF4-FFF2-40B4-BE49-F238E27FC236}">
                  <a16:creationId xmlns:a16="http://schemas.microsoft.com/office/drawing/2014/main" id="{7962C740-AA7F-4225-AF45-30CEC5D85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14">
              <a:extLst>
                <a:ext uri="{FF2B5EF4-FFF2-40B4-BE49-F238E27FC236}">
                  <a16:creationId xmlns:a16="http://schemas.microsoft.com/office/drawing/2014/main" id="{8B6BE8F3-0248-42CC-8053-5B10FA1A6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98" name="Rectangle 27">
            <a:extLst>
              <a:ext uri="{FF2B5EF4-FFF2-40B4-BE49-F238E27FC236}">
                <a16:creationId xmlns:a16="http://schemas.microsoft.com/office/drawing/2014/main" id="{B1133F59-1301-4D8F-A396-71B6A669F37A}"/>
              </a:ext>
            </a:extLst>
          </p:cNvPr>
          <p:cNvSpPr/>
          <p:nvPr userDrawn="1"/>
        </p:nvSpPr>
        <p:spPr>
          <a:xfrm>
            <a:off x="404813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Presentation Title  |  Author  |  Date</a:t>
            </a:r>
          </a:p>
        </p:txBody>
      </p:sp>
      <p:sp>
        <p:nvSpPr>
          <p:cNvPr id="100" name="Rectangle 27">
            <a:extLst>
              <a:ext uri="{FF2B5EF4-FFF2-40B4-BE49-F238E27FC236}">
                <a16:creationId xmlns:a16="http://schemas.microsoft.com/office/drawing/2014/main" id="{777F4691-2D56-47C4-B2B1-73BE348DB06D}"/>
              </a:ext>
            </a:extLst>
          </p:cNvPr>
          <p:cNvSpPr/>
          <p:nvPr userDrawn="1"/>
        </p:nvSpPr>
        <p:spPr>
          <a:xfrm>
            <a:off x="722707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 dirty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2023. All rights reserved  |</a:t>
            </a:r>
          </a:p>
        </p:txBody>
      </p:sp>
      <p:sp>
        <p:nvSpPr>
          <p:cNvPr id="99" name="Rectangle 43">
            <a:extLst>
              <a:ext uri="{FF2B5EF4-FFF2-40B4-BE49-F238E27FC236}">
                <a16:creationId xmlns:a16="http://schemas.microsoft.com/office/drawing/2014/main" id="{1302EB1D-4F45-4228-A725-9CA0AEFCE017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1244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hdr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600" b="0" i="0" u="none" strike="noStrike" kern="1200" cap="all" spc="0" normalizeH="0" baseline="0" noProof="0" dirty="0">
          <a:ln>
            <a:noFill/>
          </a:ln>
          <a:solidFill>
            <a:schemeClr val="accent4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Ubuntu" panose="020B0504030602030204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7175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10" pos="7423">
          <p15:clr>
            <a:srgbClr val="F26B43"/>
          </p15:clr>
        </p15:guide>
        <p15:guide id="11" orient="horz" pos="4071">
          <p15:clr>
            <a:srgbClr val="F26B43"/>
          </p15:clr>
        </p15:guide>
        <p15:guide id="12" pos="255">
          <p15:clr>
            <a:srgbClr val="F26B43"/>
          </p15:clr>
        </p15:guide>
        <p15:guide id="13" orient="horz" pos="836">
          <p15:clr>
            <a:srgbClr val="F26B43"/>
          </p15:clr>
        </p15:guide>
        <p15:guide id="14" orient="horz" pos="245">
          <p15:clr>
            <a:srgbClr val="F26B43"/>
          </p15:clr>
        </p15:guide>
        <p15:guide id="15" pos="3840">
          <p15:clr>
            <a:srgbClr val="F26B43"/>
          </p15:clr>
        </p15:guide>
        <p15:guide id="16" pos="3899">
          <p15:clr>
            <a:srgbClr val="F26B43"/>
          </p15:clr>
        </p15:guide>
        <p15:guide id="17" pos="378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.xml"/><Relationship Id="rId6" Type="http://schemas.openxmlformats.org/officeDocument/2006/relationships/image" Target="../media/image9.jp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16" imgH="216" progId="TCLayout.ActiveDocument.1">
                  <p:embed/>
                </p:oleObj>
              </mc:Choice>
              <mc:Fallback>
                <p:oleObj name="Diapositive think-cell" r:id="rId4" imgW="216" imgH="21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Connecteur droit 89">
            <a:extLst>
              <a:ext uri="{FF2B5EF4-FFF2-40B4-BE49-F238E27FC236}">
                <a16:creationId xmlns:a16="http://schemas.microsoft.com/office/drawing/2014/main" id="{D5F438F5-FDEC-4E30-948D-4D18C46EDEAC}"/>
              </a:ext>
            </a:extLst>
          </p:cNvPr>
          <p:cNvCxnSpPr>
            <a:cxnSpLocks/>
          </p:cNvCxnSpPr>
          <p:nvPr/>
        </p:nvCxnSpPr>
        <p:spPr>
          <a:xfrm>
            <a:off x="8183022" y="831310"/>
            <a:ext cx="0" cy="565543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B4D2CD69-11E2-4F75-8A0C-663626BA931D}"/>
              </a:ext>
            </a:extLst>
          </p:cNvPr>
          <p:cNvSpPr/>
          <p:nvPr/>
        </p:nvSpPr>
        <p:spPr>
          <a:xfrm>
            <a:off x="-189885" y="1209089"/>
            <a:ext cx="4162115" cy="564891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1" name="Forme libre : forme 12">
            <a:extLst>
              <a:ext uri="{FF2B5EF4-FFF2-40B4-BE49-F238E27FC236}">
                <a16:creationId xmlns:a16="http://schemas.microsoft.com/office/drawing/2014/main" id="{1419183B-AC25-4396-85DC-9EF38A17A5D0}"/>
              </a:ext>
            </a:extLst>
          </p:cNvPr>
          <p:cNvSpPr>
            <a:spLocks/>
          </p:cNvSpPr>
          <p:nvPr/>
        </p:nvSpPr>
        <p:spPr bwMode="auto">
          <a:xfrm>
            <a:off x="-189308" y="30879"/>
            <a:ext cx="4252780" cy="2722179"/>
          </a:xfrm>
          <a:custGeom>
            <a:avLst/>
            <a:gdLst>
              <a:gd name="connsiteX0" fmla="*/ 0 w 4387451"/>
              <a:gd name="connsiteY0" fmla="*/ 0 h 2865889"/>
              <a:gd name="connsiteX1" fmla="*/ 4154447 w 4387451"/>
              <a:gd name="connsiteY1" fmla="*/ 0 h 2865889"/>
              <a:gd name="connsiteX2" fmla="*/ 4202846 w 4387451"/>
              <a:gd name="connsiteY2" fmla="*/ 84331 h 2865889"/>
              <a:gd name="connsiteX3" fmla="*/ 4047196 w 4387451"/>
              <a:gd name="connsiteY3" fmla="*/ 1458414 h 2865889"/>
              <a:gd name="connsiteX4" fmla="*/ 3034205 w 4387451"/>
              <a:gd name="connsiteY4" fmla="*/ 1821003 h 2865889"/>
              <a:gd name="connsiteX5" fmla="*/ 2192827 w 4387451"/>
              <a:gd name="connsiteY5" fmla="*/ 2343418 h 2865889"/>
              <a:gd name="connsiteX6" fmla="*/ 0 w 4387451"/>
              <a:gd name="connsiteY6" fmla="*/ 2508014 h 2865889"/>
              <a:gd name="connsiteX7" fmla="*/ 0 w 4387451"/>
              <a:gd name="connsiteY7" fmla="*/ 15192 h 2865889"/>
              <a:gd name="connsiteX8" fmla="*/ 0 w 4387451"/>
              <a:gd name="connsiteY8" fmla="*/ 0 h 2865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87451" h="2865889">
                <a:moveTo>
                  <a:pt x="0" y="0"/>
                </a:moveTo>
                <a:lnTo>
                  <a:pt x="4154447" y="0"/>
                </a:lnTo>
                <a:lnTo>
                  <a:pt x="4202846" y="84331"/>
                </a:lnTo>
                <a:cubicBezTo>
                  <a:pt x="4394667" y="441800"/>
                  <a:pt x="4555181" y="1003687"/>
                  <a:pt x="4047196" y="1458414"/>
                </a:cubicBezTo>
                <a:cubicBezTo>
                  <a:pt x="4047196" y="1458414"/>
                  <a:pt x="3785010" y="1303359"/>
                  <a:pt x="3034205" y="1821003"/>
                </a:cubicBezTo>
                <a:cubicBezTo>
                  <a:pt x="2807772" y="1980829"/>
                  <a:pt x="2507450" y="2140654"/>
                  <a:pt x="2192827" y="2343418"/>
                </a:cubicBezTo>
                <a:cubicBezTo>
                  <a:pt x="1492076" y="2799040"/>
                  <a:pt x="581576" y="3166400"/>
                  <a:pt x="0" y="2508014"/>
                </a:cubicBezTo>
                <a:cubicBezTo>
                  <a:pt x="0" y="1031641"/>
                  <a:pt x="0" y="339590"/>
                  <a:pt x="0" y="15192"/>
                </a:cubicBezTo>
                <a:lnTo>
                  <a:pt x="0" y="0"/>
                </a:lnTo>
                <a:close/>
              </a:path>
            </a:pathLst>
          </a:custGeom>
          <a:solidFill>
            <a:srgbClr val="00449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76E32A8F-6C9B-4803-9E38-A257EC829882}"/>
              </a:ext>
            </a:extLst>
          </p:cNvPr>
          <p:cNvSpPr txBox="1">
            <a:spLocks/>
          </p:cNvSpPr>
          <p:nvPr/>
        </p:nvSpPr>
        <p:spPr>
          <a:xfrm>
            <a:off x="79567" y="2753058"/>
            <a:ext cx="3869808" cy="85596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108000" tIns="72000" rIns="72000" bIns="72000" rtlCol="0">
            <a:noAutofit/>
          </a:bodyPr>
          <a:lstStyle>
            <a:lvl1pPr marL="114300" indent="-1143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82575" indent="-122238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200" indent="-1143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31825" indent="-12065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900" kern="1200" baseline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Lato" panose="020F0502020204030203" pitchFamily="34" charset="0"/>
                <a:cs typeface="Arial" panose="020B0604020202020204" pitchFamily="34" charset="0"/>
              </a:rPr>
              <a:t>Having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+ years of 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Lato" panose="020F0502020204030203" pitchFamily="34" charset="0"/>
                <a:cs typeface="Arial" panose="020B0604020202020204" pitchFamily="34" charset="0"/>
              </a:rPr>
              <a:t>expertise in  microservice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Lato" panose="020F0502020204030203" pitchFamily="34" charset="0"/>
                <a:cs typeface="Arial" panose="020B0604020202020204" pitchFamily="34" charset="0"/>
              </a:rPr>
              <a:t> java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Lato" panose="020F0502020204030203" pitchFamily="34" charset="0"/>
                <a:cs typeface="Arial" panose="020B0604020202020204" pitchFamily="34" charset="0"/>
              </a:rPr>
              <a:t> applications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Lato" panose="020F0502020204030203" pitchFamily="34" charset="0"/>
                <a:cs typeface="Arial" panose="020B0604020202020204" pitchFamily="34" charset="0"/>
              </a:rPr>
              <a:t>with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pring boot, </a:t>
            </a: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ring MVC , REACT JS with Database. </a:t>
            </a:r>
            <a:r>
              <a:rPr lang="en-US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Ready to learn new technologies and implement them to further improve my knowled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000" dirty="0"/>
              <a:t>Eager to work in a team of dedicated people and serve a key role in the enhancement and development of the project. </a:t>
            </a:r>
          </a:p>
          <a:p>
            <a:pPr marL="114300" marR="0" lvl="0" indent="-1143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Content Placeholder 3">
            <a:extLst>
              <a:ext uri="{FF2B5EF4-FFF2-40B4-BE49-F238E27FC236}">
                <a16:creationId xmlns:a16="http://schemas.microsoft.com/office/drawing/2014/main" id="{9A3EEDBD-2000-4969-A5E0-553B1D7FD3E0}"/>
              </a:ext>
            </a:extLst>
          </p:cNvPr>
          <p:cNvSpPr txBox="1">
            <a:spLocks/>
          </p:cNvSpPr>
          <p:nvPr/>
        </p:nvSpPr>
        <p:spPr>
          <a:xfrm>
            <a:off x="-71921" y="4384386"/>
            <a:ext cx="3735855" cy="5456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108000" tIns="72000" rIns="72000" bIns="72000" rtlCol="0">
            <a:noAutofit/>
          </a:bodyPr>
          <a:lstStyle>
            <a:lvl1pPr marL="114300" indent="-1143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82575" indent="-122238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200" indent="-1143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31825" indent="-12065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900" kern="1200" baseline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00" dirty="0"/>
              <a:t>  Bachelor of Engineering Electronic and Communication: 2018 - 2022</a:t>
            </a:r>
          </a:p>
          <a:p>
            <a:pPr marL="171450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AD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Segoe UI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45" name="ZoneTexte 358">
            <a:extLst>
              <a:ext uri="{FF2B5EF4-FFF2-40B4-BE49-F238E27FC236}">
                <a16:creationId xmlns:a16="http://schemas.microsoft.com/office/drawing/2014/main" id="{2C2026F9-05AB-4499-A4E1-DC9C697FD3F9}"/>
              </a:ext>
            </a:extLst>
          </p:cNvPr>
          <p:cNvSpPr txBox="1"/>
          <p:nvPr/>
        </p:nvSpPr>
        <p:spPr>
          <a:xfrm rot="5400000">
            <a:off x="1790904" y="2276883"/>
            <a:ext cx="288000" cy="386980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vert="vert270" wrap="square" bIns="360000" rtlCol="0" anchor="ctr">
            <a:noAutofit/>
          </a:bodyPr>
          <a:lstStyle/>
          <a:p>
            <a:pPr marL="0" marR="0" lvl="0" indent="0" algn="l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48" name="Content Placeholder 3">
            <a:extLst>
              <a:ext uri="{FF2B5EF4-FFF2-40B4-BE49-F238E27FC236}">
                <a16:creationId xmlns:a16="http://schemas.microsoft.com/office/drawing/2014/main" id="{3BBF1778-7635-48A8-ACF2-3ED16C09651F}"/>
              </a:ext>
            </a:extLst>
          </p:cNvPr>
          <p:cNvSpPr txBox="1">
            <a:spLocks/>
          </p:cNvSpPr>
          <p:nvPr/>
        </p:nvSpPr>
        <p:spPr>
          <a:xfrm>
            <a:off x="79567" y="6056672"/>
            <a:ext cx="1960137" cy="48997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108000" tIns="72000" rIns="72000" bIns="72000" numCol="1" rtlCol="0">
            <a:noAutofit/>
          </a:bodyPr>
          <a:lstStyle>
            <a:lvl1pPr marL="114300" indent="-1143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82575" indent="-122238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200" indent="-1143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31825" indent="-12065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900" kern="1200" baseline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AD"/>
              </a:buClr>
              <a:buSzPct val="10000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AD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AC29596-A7EC-47AF-B93B-BFFF8AB010E5}"/>
              </a:ext>
            </a:extLst>
          </p:cNvPr>
          <p:cNvSpPr/>
          <p:nvPr/>
        </p:nvSpPr>
        <p:spPr>
          <a:xfrm>
            <a:off x="4294780" y="94891"/>
            <a:ext cx="365517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98B9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EY ASSIGNMENTS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098B9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1C4D1EA-47DF-41E4-B026-58AB7D1B2AA2}"/>
              </a:ext>
            </a:extLst>
          </p:cNvPr>
          <p:cNvSpPr/>
          <p:nvPr/>
        </p:nvSpPr>
        <p:spPr>
          <a:xfrm>
            <a:off x="8286637" y="408906"/>
            <a:ext cx="2588509" cy="6609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57756" rtl="0" eaLnBrk="1" fontAlgn="auto" latinLnBrk="0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rgbClr val="A50021"/>
              </a:buClr>
              <a:buSzPct val="80000"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EY SKILLS</a:t>
            </a:r>
          </a:p>
          <a:p>
            <a:pPr marL="0" marR="0" lvl="0" indent="0" algn="l" defTabSz="957756" rtl="0" eaLnBrk="1" fontAlgn="auto" latinLnBrk="0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rgbClr val="A50021"/>
              </a:buClr>
              <a:buSzPct val="80000"/>
              <a:buFontTx/>
              <a:buNone/>
              <a:tabLst/>
              <a:defRPr/>
            </a:pPr>
            <a:endParaRPr lang="fr-FR" sz="1100" b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100" b="1" dirty="0">
                <a:solidFill>
                  <a:srgbClr val="0070AD"/>
                </a:solidFill>
              </a:rPr>
              <a:t>Core Skills</a:t>
            </a:r>
            <a:br>
              <a:rPr lang="en-US" altLang="nl-NL" sz="1100" b="1" dirty="0">
                <a:solidFill>
                  <a:srgbClr val="0070AD"/>
                </a:solidFill>
              </a:rPr>
            </a:br>
            <a:r>
              <a:rPr lang="en-US" altLang="en-US" sz="1100" dirty="0"/>
              <a:t>Java 8 &amp; 11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100" dirty="0"/>
              <a:t>Spring Boo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100" dirty="0"/>
              <a:t>Spring MVC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100" dirty="0"/>
              <a:t>Apache Tomcat Standalone Server</a:t>
            </a:r>
          </a:p>
          <a:p>
            <a:pPr eaLnBrk="1" hangingPunct="1">
              <a:lnSpc>
                <a:spcPct val="114000"/>
              </a:lnSpc>
            </a:pPr>
            <a:endParaRPr lang="en-US" altLang="en-US" sz="11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100" b="1" dirty="0">
                <a:solidFill>
                  <a:srgbClr val="0070AD"/>
                </a:solidFill>
              </a:rPr>
              <a:t>Databas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/>
              <a:t>No SQL database – MongoD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/>
              <a:t>SQL database – Postgres</a:t>
            </a:r>
          </a:p>
          <a:p>
            <a:pPr eaLnBrk="1" hangingPunct="1">
              <a:lnSpc>
                <a:spcPct val="114000"/>
              </a:lnSpc>
            </a:pPr>
            <a:endParaRPr lang="en-US" altLang="nl-NL" sz="11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100" b="1" dirty="0">
                <a:solidFill>
                  <a:srgbClr val="0070AD"/>
                </a:solidFill>
              </a:rPr>
              <a:t>Web Technologies</a:t>
            </a:r>
            <a:endParaRPr lang="en-US" altLang="nl-NL" sz="11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/>
              <a:t>HTML5 and CS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100" dirty="0"/>
              <a:t>Bootstrap</a:t>
            </a:r>
            <a:endParaRPr lang="en-US" altLang="nl-NL" sz="11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/>
              <a:t>JavaScrip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/>
              <a:t>ReactJS</a:t>
            </a:r>
          </a:p>
          <a:p>
            <a:pPr eaLnBrk="1" hangingPunct="1">
              <a:lnSpc>
                <a:spcPct val="114000"/>
              </a:lnSpc>
            </a:pPr>
            <a:endParaRPr lang="en-US" altLang="nl-NL" sz="11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100" b="1" dirty="0">
                <a:solidFill>
                  <a:srgbClr val="0070AD"/>
                </a:solidFill>
              </a:rPr>
              <a:t>Dev-Ops</a:t>
            </a:r>
            <a:endParaRPr lang="en-US" altLang="nl-NL" sz="11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/>
              <a:t>Git &amp; GitHub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/>
              <a:t>Docke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/>
              <a:t>Postma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1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100" b="1" dirty="0">
                <a:solidFill>
                  <a:srgbClr val="0070AD"/>
                </a:solidFill>
              </a:rPr>
              <a:t>Cloud Skil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/>
              <a:t>Azure</a:t>
            </a:r>
          </a:p>
          <a:p>
            <a:pPr eaLnBrk="1" hangingPunct="1">
              <a:lnSpc>
                <a:spcPct val="114000"/>
              </a:lnSpc>
            </a:pPr>
            <a:endParaRPr lang="en-US" altLang="nl-NL" sz="11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100" b="1" dirty="0">
                <a:solidFill>
                  <a:srgbClr val="0070AD"/>
                </a:solidFill>
              </a:rPr>
              <a:t>Business Skill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/>
              <a:t>Camunda Modeler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100" dirty="0"/>
              <a:t>BPMN , DMN</a:t>
            </a:r>
          </a:p>
          <a:p>
            <a:pPr eaLnBrk="1" hangingPunct="1">
              <a:lnSpc>
                <a:spcPct val="114000"/>
              </a:lnSpc>
            </a:pPr>
            <a:endParaRPr lang="en-US" altLang="nl-NL" sz="1100" dirty="0"/>
          </a:p>
          <a:p>
            <a:pPr eaLnBrk="1" hangingPunct="1">
              <a:lnSpc>
                <a:spcPct val="114000"/>
              </a:lnSpc>
            </a:pPr>
            <a:endParaRPr lang="en-US" altLang="nl-NL" sz="1100" dirty="0"/>
          </a:p>
          <a:p>
            <a:pPr eaLnBrk="1" hangingPunct="1">
              <a:lnSpc>
                <a:spcPct val="114000"/>
              </a:lnSpc>
            </a:pPr>
            <a:endParaRPr lang="en-US" altLang="nl-NL" sz="1100" dirty="0"/>
          </a:p>
          <a:p>
            <a:pPr eaLnBrk="1" hangingPunct="1">
              <a:lnSpc>
                <a:spcPct val="114000"/>
              </a:lnSpc>
            </a:pPr>
            <a:r>
              <a:rPr lang="en-US" altLang="en-US" sz="1100" dirty="0"/>
              <a:t> </a:t>
            </a:r>
          </a:p>
          <a:p>
            <a:pPr marL="0" marR="0" lvl="0" indent="0" algn="l" defTabSz="957756" rtl="0" eaLnBrk="1" fontAlgn="auto" latinLnBrk="0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rgbClr val="A50021"/>
              </a:buClr>
              <a:buSzPct val="80000"/>
              <a:buFontTx/>
              <a:buNone/>
              <a:tabLst/>
              <a:defRPr/>
            </a:pPr>
            <a:endParaRPr kumimoji="0" lang="fr-FR" sz="11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53" name="Connecteur droit 89">
            <a:extLst>
              <a:ext uri="{FF2B5EF4-FFF2-40B4-BE49-F238E27FC236}">
                <a16:creationId xmlns:a16="http://schemas.microsoft.com/office/drawing/2014/main" id="{D5F438F5-FDEC-4E30-948D-4D18C46EDEAC}"/>
              </a:ext>
            </a:extLst>
          </p:cNvPr>
          <p:cNvCxnSpPr>
            <a:cxnSpLocks/>
          </p:cNvCxnSpPr>
          <p:nvPr/>
        </p:nvCxnSpPr>
        <p:spPr>
          <a:xfrm>
            <a:off x="4188504" y="1044594"/>
            <a:ext cx="0" cy="541704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07007" y="241451"/>
            <a:ext cx="3655176" cy="878483"/>
          </a:xfrm>
        </p:spPr>
        <p:txBody>
          <a:bodyPr>
            <a:normAutofit fontScale="90000"/>
          </a:bodyPr>
          <a:lstStyle/>
          <a:p>
            <a:r>
              <a:rPr lang="en-IN" altLang="en-US" sz="2000" dirty="0">
                <a:solidFill>
                  <a:schemeClr val="bg2"/>
                </a:solidFill>
              </a:rPr>
              <a:t>Arun Gulia</a:t>
            </a:r>
            <a:br>
              <a:rPr lang="en-IN" altLang="en-US" sz="900" dirty="0">
                <a:solidFill>
                  <a:schemeClr val="bg2"/>
                </a:solidFill>
              </a:rPr>
            </a:br>
            <a:br>
              <a:rPr lang="en-GB" sz="10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nl-NL" altLang="nl-NL" sz="1300" dirty="0">
                <a:solidFill>
                  <a:schemeClr val="bg2"/>
                </a:solidFill>
              </a:rPr>
              <a:t>Analyst/Software Engineer</a:t>
            </a:r>
            <a:br>
              <a:rPr lang="nl-NL" altLang="nl-NL" sz="1300" dirty="0">
                <a:solidFill>
                  <a:schemeClr val="bg2"/>
                </a:solidFill>
              </a:rPr>
            </a:br>
            <a:r>
              <a:rPr lang="nl-NL" altLang="nl-NL" sz="1300" dirty="0">
                <a:solidFill>
                  <a:schemeClr val="bg2"/>
                </a:solidFill>
              </a:rPr>
              <a:t>arun.gulia@capgemini.com</a:t>
            </a:r>
            <a:br>
              <a:rPr lang="nl-NL" altLang="nl-NL" sz="1300" dirty="0">
                <a:solidFill>
                  <a:schemeClr val="bg2"/>
                </a:solidFill>
              </a:rPr>
            </a:br>
            <a:r>
              <a:rPr lang="nl-NL" altLang="nl-NL" sz="1300" dirty="0">
                <a:solidFill>
                  <a:schemeClr val="bg2"/>
                </a:solidFill>
              </a:rPr>
              <a:t>+91 8978873807</a:t>
            </a:r>
            <a:br>
              <a:rPr lang="nl-NL" altLang="nl-NL" sz="1300" dirty="0">
                <a:solidFill>
                  <a:schemeClr val="bg2"/>
                </a:solidFill>
              </a:rPr>
            </a:br>
            <a:r>
              <a:rPr lang="nl-NL" altLang="nl-NL" sz="1300" dirty="0">
                <a:solidFill>
                  <a:schemeClr val="bg1"/>
                </a:solidFill>
              </a:rPr>
              <a:t>A4 Grade</a:t>
            </a:r>
            <a:br>
              <a:rPr lang="nl-NL" altLang="nl-NL" sz="1300" dirty="0">
                <a:solidFill>
                  <a:schemeClr val="bg1"/>
                </a:solidFill>
              </a:rPr>
            </a:br>
            <a:br>
              <a:rPr lang="nl-NL" altLang="nl-NL" sz="800" dirty="0"/>
            </a:br>
            <a:br>
              <a:rPr lang="nl-NL" altLang="nl-NL" sz="800" dirty="0"/>
            </a:br>
            <a:endParaRPr lang="en-GB" sz="1000" b="1" i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ZoneTexte 369">
            <a:extLst>
              <a:ext uri="{FF2B5EF4-FFF2-40B4-BE49-F238E27FC236}">
                <a16:creationId xmlns:a16="http://schemas.microsoft.com/office/drawing/2014/main" id="{B2287754-1B4F-4F65-A29C-0288B21E6890}"/>
              </a:ext>
            </a:extLst>
          </p:cNvPr>
          <p:cNvSpPr txBox="1"/>
          <p:nvPr/>
        </p:nvSpPr>
        <p:spPr>
          <a:xfrm rot="5400000">
            <a:off x="1780170" y="3174211"/>
            <a:ext cx="288000" cy="386980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vert="vert270" wrap="square" bIns="360000" rtlCol="0" anchor="ctr">
            <a:noAutofit/>
          </a:bodyPr>
          <a:lstStyle/>
          <a:p>
            <a:pPr marL="0" marR="0" lvl="0" indent="0" algn="l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anguages </a:t>
            </a:r>
          </a:p>
        </p:txBody>
      </p:sp>
      <p:sp>
        <p:nvSpPr>
          <p:cNvPr id="54" name="Content Placeholder 3">
            <a:extLst>
              <a:ext uri="{FF2B5EF4-FFF2-40B4-BE49-F238E27FC236}">
                <a16:creationId xmlns:a16="http://schemas.microsoft.com/office/drawing/2014/main" id="{9A3EEDBD-2000-4969-A5E0-553B1D7FD3E0}"/>
              </a:ext>
            </a:extLst>
          </p:cNvPr>
          <p:cNvSpPr txBox="1">
            <a:spLocks/>
          </p:cNvSpPr>
          <p:nvPr/>
        </p:nvSpPr>
        <p:spPr>
          <a:xfrm>
            <a:off x="23764" y="5423421"/>
            <a:ext cx="3640170" cy="86562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108000" tIns="72000" rIns="72000" bIns="72000" rtlCol="0">
            <a:noAutofit/>
          </a:bodyPr>
          <a:lstStyle>
            <a:lvl1pPr marL="114300" indent="-1143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82575" indent="-122238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200" indent="-1143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31825" indent="-12065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900" kern="1200" baseline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5" marR="0" lvl="2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AD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egoe UI" panose="020B0502040204020203" pitchFamily="34" charset="0"/>
                <a:cs typeface="Calibri" panose="020F0502020204030204" pitchFamily="34" charset="0"/>
              </a:rPr>
              <a:t>English </a:t>
            </a:r>
          </a:p>
          <a:p>
            <a:pPr marL="117475" marR="0" lvl="2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AD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IN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Segoe UI" panose="020B0502040204020203" pitchFamily="34" charset="0"/>
              <a:cs typeface="Calibri" panose="020F0502020204030204" pitchFamily="34" charset="0"/>
            </a:endParaRPr>
          </a:p>
          <a:p>
            <a:pPr marL="117475" marR="0" lvl="2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AD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egoe UI" panose="020B0502040204020203" pitchFamily="34" charset="0"/>
                <a:cs typeface="Calibri" panose="020F0502020204030204" pitchFamily="34" charset="0"/>
              </a:rPr>
              <a:t>Telugu </a:t>
            </a:r>
          </a:p>
          <a:p>
            <a:pPr marL="117475" marR="0" lvl="2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AD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IN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Segoe UI" panose="020B0502040204020203" pitchFamily="34" charset="0"/>
              <a:cs typeface="Calibri" panose="020F0502020204030204" pitchFamily="34" charset="0"/>
            </a:endParaRPr>
          </a:p>
          <a:p>
            <a:pPr marL="117475" marR="0" lvl="2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AD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egoe UI" panose="020B0502040204020203" pitchFamily="34" charset="0"/>
                <a:cs typeface="Calibri" panose="020F0502020204030204" pitchFamily="34" charset="0"/>
              </a:rPr>
              <a:t>Hindi  </a:t>
            </a:r>
          </a:p>
        </p:txBody>
      </p:sp>
      <p:sp>
        <p:nvSpPr>
          <p:cNvPr id="55" name="Rectangle 54"/>
          <p:cNvSpPr/>
          <p:nvPr/>
        </p:nvSpPr>
        <p:spPr>
          <a:xfrm>
            <a:off x="4232744" y="356015"/>
            <a:ext cx="3884621" cy="64265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pgemini Engineering, Bengalor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July 2022 – Current)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70AD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echnical Developer </a:t>
            </a:r>
          </a:p>
          <a:p>
            <a:pPr eaLnBrk="1" hangingPunct="1">
              <a:lnSpc>
                <a:spcPct val="114000"/>
              </a:lnSpc>
              <a:defRPr/>
            </a:pPr>
            <a:endParaRPr lang="en-US" altLang="en-US" sz="1200" b="1" dirty="0"/>
          </a:p>
          <a:p>
            <a:pPr eaLnBrk="1" hangingPunct="1">
              <a:lnSpc>
                <a:spcPct val="114000"/>
              </a:lnSpc>
              <a:defRPr/>
            </a:pPr>
            <a:r>
              <a:rPr lang="en-US" altLang="en-US" sz="1200" b="1" dirty="0"/>
              <a:t>Railway Ticket Booking System Application</a:t>
            </a:r>
          </a:p>
          <a:p>
            <a:pPr eaLnBrk="1" hangingPunct="1">
              <a:lnSpc>
                <a:spcPct val="114000"/>
              </a:lnSpc>
              <a:defRPr/>
            </a:pPr>
            <a:r>
              <a:rPr lang="en-IN" altLang="en-US" sz="1100" dirty="0"/>
              <a:t>Completed end to end POC of Railway ticket booking system Application along with JWT authentication, Swagger and payment testing using MERN Stack.</a:t>
            </a:r>
            <a:r>
              <a:rPr lang="en-US" altLang="en-US" sz="1100" dirty="0"/>
              <a:t> Material-UI and React Bootstrap used for user interface with spring framework multi microservice architecture with API development stored data in Mongo DB.</a:t>
            </a:r>
            <a:endParaRPr lang="en-IN" altLang="en-US" sz="1100" dirty="0"/>
          </a:p>
          <a:p>
            <a:pPr marL="172720" marR="0" lvl="2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70AD"/>
              </a:buClr>
              <a:buSzPct val="100000"/>
              <a:buFont typeface="Wingdings" panose="05000000000000000000" pitchFamily="2" charset="2"/>
              <a:buChar char="q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lvl="2">
              <a:spcAft>
                <a:spcPts val="400"/>
              </a:spcAft>
              <a:buClr>
                <a:srgbClr val="0070AD"/>
              </a:buClr>
              <a:buSzPct val="100000"/>
              <a:defRPr/>
            </a:pPr>
            <a:r>
              <a:rPr lang="en-IN" altLang="en-US" sz="1200" b="1" dirty="0"/>
              <a:t>CHARTER MOBILE IT </a:t>
            </a:r>
          </a:p>
          <a:p>
            <a:pPr marL="0" lvl="2">
              <a:spcAft>
                <a:spcPts val="400"/>
              </a:spcAft>
              <a:buClr>
                <a:srgbClr val="0070AD"/>
              </a:buClr>
              <a:buSzPct val="100000"/>
              <a:defRPr/>
            </a:pPr>
            <a:r>
              <a:rPr lang="en-IN" altLang="en-US" sz="1100" dirty="0">
                <a:latin typeface="Arial" panose="020B0604020202020204" pitchFamily="34" charset="0"/>
                <a:cs typeface="Arial" panose="020B0604020202020204" pitchFamily="34" charset="0"/>
              </a:rPr>
              <a:t>Part of the mobile IT FF4J(feature flagging service) </a:t>
            </a:r>
            <a:r>
              <a:rPr lang="en-IN" sz="1100" dirty="0">
                <a:latin typeface="Arial" panose="020B0604020202020204" pitchFamily="34" charset="0"/>
                <a:cs typeface="Arial" panose="020B0604020202020204" pitchFamily="34" charset="0"/>
              </a:rPr>
              <a:t>FF4j can be used in any java application (including Android). The single dependency you must specified in pom.xml is </a:t>
            </a:r>
            <a:r>
              <a:rPr lang="en-IN" sz="1100" b="1" dirty="0">
                <a:latin typeface="Arial" panose="020B0604020202020204" pitchFamily="34" charset="0"/>
                <a:cs typeface="Arial" panose="020B0604020202020204" pitchFamily="34" charset="0"/>
              </a:rPr>
              <a:t>ff4j-core</a:t>
            </a:r>
            <a:r>
              <a:rPr lang="en-IN" sz="1100" dirty="0">
                <a:latin typeface="Arial" panose="020B0604020202020204" pitchFamily="34" charset="0"/>
                <a:cs typeface="Arial" panose="020B0604020202020204" pitchFamily="34" charset="0"/>
              </a:rPr>
              <a:t>. It contains an in-memory implementation for each store. On top of it, you add </a:t>
            </a:r>
            <a:r>
              <a:rPr lang="en-IN" sz="1100">
                <a:latin typeface="Arial" panose="020B0604020202020204" pitchFamily="34" charset="0"/>
                <a:cs typeface="Arial" panose="020B0604020202020204" pitchFamily="34" charset="0"/>
              </a:rPr>
              <a:t>extra dependencies </a:t>
            </a:r>
            <a:r>
              <a:rPr lang="en-IN" sz="1100" dirty="0">
                <a:latin typeface="Arial" panose="020B0604020202020204" pitchFamily="34" charset="0"/>
                <a:cs typeface="Arial" panose="020B0604020202020204" pitchFamily="34" charset="0"/>
              </a:rPr>
              <a:t>to define which database technology to use. Feature Store, Property Store and Event Repository don't have to use the same storage technology.</a:t>
            </a:r>
            <a:br>
              <a:rPr lang="en-IN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IN" sz="1100" dirty="0">
                <a:latin typeface="Arial" panose="020B0604020202020204" pitchFamily="34" charset="0"/>
                <a:cs typeface="Arial" panose="020B0604020202020204" pitchFamily="34" charset="0"/>
              </a:rPr>
              <a:t>As FF4j provides REST-API and a web console. Have worked on UI part with HTML, CSS, Bootstrap </a:t>
            </a:r>
          </a:p>
          <a:p>
            <a:pPr marL="0" lvl="2">
              <a:spcAft>
                <a:spcPts val="400"/>
              </a:spcAft>
              <a:buClr>
                <a:srgbClr val="0070AD"/>
              </a:buClr>
              <a:buSzPct val="100000"/>
              <a:defRPr/>
            </a:pPr>
            <a:endParaRPr lang="en-IN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>
              <a:spcAft>
                <a:spcPts val="400"/>
              </a:spcAft>
              <a:buClr>
                <a:srgbClr val="0070AD"/>
              </a:buClr>
              <a:buSzPct val="100000"/>
              <a:defRPr/>
            </a:pPr>
            <a:r>
              <a:rPr lang="en-IN" sz="1200" b="1" dirty="0">
                <a:latin typeface="Arial" panose="020B0604020202020204" pitchFamily="34" charset="0"/>
                <a:cs typeface="Arial" panose="020B0604020202020204" pitchFamily="34" charset="0"/>
              </a:rPr>
              <a:t>CAMUNDA SPRING BOOT</a:t>
            </a:r>
          </a:p>
          <a:p>
            <a:pPr marL="0" lvl="2">
              <a:spcAft>
                <a:spcPts val="400"/>
              </a:spcAft>
              <a:buClr>
                <a:srgbClr val="0070AD"/>
              </a:buClr>
              <a:buSzPct val="100000"/>
              <a:defRPr/>
            </a:pPr>
            <a:r>
              <a:rPr lang="en-IN" sz="1100" dirty="0">
                <a:latin typeface="Arial" panose="020B0604020202020204" pitchFamily="34" charset="0"/>
                <a:cs typeface="Arial" panose="020B0604020202020204" pitchFamily="34" charset="0"/>
              </a:rPr>
              <a:t>Created a Business flow automation using Camunda Business rule tasks, sent API request from postman for testing with Mongo DB. Implemented DMN tables with a BPMN (Business process Model and Notation) to automate the </a:t>
            </a:r>
            <a:r>
              <a:rPr lang="en-IN" sz="1100" b="1" dirty="0">
                <a:latin typeface="Arial" panose="020B0604020202020204" pitchFamily="34" charset="0"/>
                <a:cs typeface="Arial" panose="020B0604020202020204" pitchFamily="34" charset="0"/>
              </a:rPr>
              <a:t>Order fulfilment </a:t>
            </a:r>
            <a:r>
              <a:rPr lang="en-IN" sz="1100" dirty="0">
                <a:latin typeface="Arial" panose="020B0604020202020204" pitchFamily="34" charset="0"/>
                <a:cs typeface="Arial" panose="020B0604020202020204" pitchFamily="34" charset="0"/>
              </a:rPr>
              <a:t>process using </a:t>
            </a:r>
            <a:r>
              <a:rPr lang="en-IN" sz="1100" b="1" dirty="0">
                <a:latin typeface="Arial" panose="020B0604020202020204" pitchFamily="34" charset="0"/>
                <a:cs typeface="Arial" panose="020B0604020202020204" pitchFamily="34" charset="0"/>
              </a:rPr>
              <a:t>EXTERNAL TASK </a:t>
            </a:r>
            <a:r>
              <a:rPr lang="en-IN" sz="1100" dirty="0">
                <a:latin typeface="Arial" panose="020B0604020202020204" pitchFamily="34" charset="0"/>
                <a:cs typeface="Arial" panose="020B0604020202020204" pitchFamily="34" charset="0"/>
              </a:rPr>
              <a:t>CLIENT of Spring Boot Application </a:t>
            </a:r>
          </a:p>
          <a:p>
            <a:pPr marL="172720" marR="0" lvl="2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70AD"/>
              </a:buClr>
              <a:buSzPct val="100000"/>
              <a:buFont typeface="Wingdings" panose="05000000000000000000" pitchFamily="2" charset="2"/>
              <a:buChar char="q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70AD"/>
              </a:buClr>
              <a:buSzPct val="100000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376765" y="2730636"/>
            <a:ext cx="184731" cy="2242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57756" rtl="0" eaLnBrk="1" fontAlgn="auto" latinLnBrk="0" hangingPunct="1">
              <a:lnSpc>
                <a:spcPct val="85000"/>
              </a:lnSpc>
              <a:spcBef>
                <a:spcPct val="30000"/>
              </a:spcBef>
              <a:spcAft>
                <a:spcPts val="0"/>
              </a:spcAft>
              <a:buClr>
                <a:srgbClr val="A50021"/>
              </a:buClr>
              <a:buSzPct val="80000"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98B9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3A2EEC07-57A2-4F92-F8F4-FBF57F2F87DC}"/>
              </a:ext>
            </a:extLst>
          </p:cNvPr>
          <p:cNvSpPr txBox="1">
            <a:spLocks/>
          </p:cNvSpPr>
          <p:nvPr/>
        </p:nvSpPr>
        <p:spPr>
          <a:xfrm>
            <a:off x="-328147" y="6216658"/>
            <a:ext cx="1960137" cy="48997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108000" tIns="72000" rIns="72000" bIns="72000" numCol="1" rtlCol="0">
            <a:noAutofit/>
          </a:bodyPr>
          <a:lstStyle>
            <a:lvl1pPr marL="114300" indent="-1143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82575" indent="-122238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200" indent="-1143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31825" indent="-12065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900" kern="1200" baseline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5" marR="0" lvl="2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AD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AD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40A28DDB-21AF-8C06-7286-119C8A5A8375}"/>
              </a:ext>
            </a:extLst>
          </p:cNvPr>
          <p:cNvSpPr txBox="1">
            <a:spLocks/>
          </p:cNvSpPr>
          <p:nvPr/>
        </p:nvSpPr>
        <p:spPr>
          <a:xfrm>
            <a:off x="2094809" y="6302496"/>
            <a:ext cx="1960137" cy="48997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108000" tIns="72000" rIns="72000" bIns="72000" numCol="1" rtlCol="0">
            <a:noAutofit/>
          </a:bodyPr>
          <a:lstStyle>
            <a:lvl1pPr marL="114300" indent="-1143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82575" indent="-122238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200" indent="-1143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31825" indent="-12065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900" kern="1200" baseline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15963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5" marR="0" lvl="2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AD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Placeholder 7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79291738-3623-1C1A-043E-C0C6AAA02889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7351" r="7351"/>
          <a:stretch>
            <a:fillRect/>
          </a:stretch>
        </p:blipFill>
        <p:spPr>
          <a:xfrm>
            <a:off x="-102218" y="451847"/>
            <a:ext cx="1734208" cy="1735628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68147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/>
    </mc:Choice>
    <mc:Fallback xmlns=""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2021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Green A">
      <a:srgbClr val="57CF80"/>
    </a:custClr>
    <a:custClr name="Green B">
      <a:srgbClr val="33B569"/>
    </a:custClr>
    <a:custClr name="Green C">
      <a:srgbClr val="2EA657"/>
    </a:custClr>
    <a:custClr name="Green D">
      <a:srgbClr val="178C3D"/>
    </a:custClr>
    <a:custClr name="Green E">
      <a:srgbClr val="176036"/>
    </a:custClr>
    <a:custClr name="Teal A">
      <a:srgbClr val="00E6E3"/>
    </a:custClr>
    <a:custClr name="Teal B">
      <a:srgbClr val="00D5D0"/>
    </a:custClr>
    <a:custClr name="Teal C">
      <a:srgbClr val="00BFBF"/>
    </a:custClr>
    <a:custClr name="Teal D">
      <a:srgbClr val="00929B"/>
    </a:custClr>
    <a:custClr name="Teal E">
      <a:srgbClr val="007D74"/>
    </a:custClr>
    <a:custClr name="Peacock A">
      <a:srgbClr val="00E0CB"/>
    </a:custClr>
    <a:custClr name="Peacock B">
      <a:srgbClr val="00B2A2"/>
    </a:custClr>
    <a:custClr name="Peacock C">
      <a:srgbClr val="0F878A"/>
    </a:custClr>
    <a:custClr name="Peacock D">
      <a:srgbClr val="0F6A73"/>
    </a:custClr>
    <a:custClr name="Peacock E">
      <a:srgbClr val="0F434A"/>
    </a:custClr>
    <a:custClr name="Sapphire A">
      <a:srgbClr val="338091"/>
    </a:custClr>
    <a:custClr name="Sapphire B">
      <a:srgbClr val="336B7D"/>
    </a:custClr>
    <a:custClr name="Sapphire C">
      <a:srgbClr val="14596B"/>
    </a:custClr>
    <a:custClr name="Sapphire D">
      <a:srgbClr val="214554"/>
    </a:custClr>
    <a:custClr name="Sapphire E">
      <a:srgbClr val="173340"/>
    </a:custClr>
    <a:custClr name="Violet A">
      <a:srgbClr val="E557AD"/>
    </a:custClr>
    <a:custClr name="Violet B">
      <a:srgbClr val="D13A8C"/>
    </a:custClr>
    <a:custClr name="Violet C">
      <a:srgbClr val="BA2980"/>
    </a:custClr>
    <a:custClr name="Violet D">
      <a:srgbClr val="A12980"/>
    </a:custClr>
    <a:custClr name="Violet E">
      <a:srgbClr val="811B6F"/>
    </a:custClr>
    <a:custClr name="Yellow A">
      <a:srgbClr val="FFDA80"/>
    </a:custClr>
    <a:custClr name="Yellow B">
      <a:srgbClr val="FFD068"/>
    </a:custClr>
    <a:custClr name="Yellow C">
      <a:srgbClr val="FFB24A"/>
    </a:custClr>
    <a:custClr name="Yellow D">
      <a:srgbClr val="FF9C29"/>
    </a:custClr>
    <a:custClr name="Yellow E">
      <a:srgbClr val="FF8E12"/>
    </a:custClr>
    <a:custClr name="Velvet A">
      <a:srgbClr val="9E4780"/>
    </a:custClr>
    <a:custClr name="Velvet B">
      <a:srgbClr val="802B73"/>
    </a:custClr>
    <a:custClr name="Velvet C">
      <a:srgbClr val="750D5C"/>
    </a:custClr>
    <a:custClr name="Velvet D">
      <a:srgbClr val="590A42"/>
    </a:custClr>
    <a:custClr name="Velvet E">
      <a:srgbClr val="42142E"/>
    </a:custClr>
    <a:custClr name="Red A">
      <a:srgbClr val="FF5770"/>
    </a:custClr>
    <a:custClr name="Red B">
      <a:srgbClr val="FF455E"/>
    </a:custClr>
    <a:custClr name="Red C">
      <a:srgbClr val="FF304D"/>
    </a:custClr>
    <a:custClr name="Red D">
      <a:srgbClr val="E30021"/>
    </a:custClr>
    <a:custClr name="Red E">
      <a:srgbClr val="A6001A"/>
    </a:custClr>
  </a:custClrLst>
  <a:extLst>
    <a:ext uri="{05A4C25C-085E-4340-85A3-A5531E510DB2}">
      <thm15:themeFamily xmlns:thm15="http://schemas.microsoft.com/office/thememl/2012/main" name="Capgemini Template.potx" id="{CBFF93A5-2DF8-4330-839D-D3D65D7386C8}" vid="{B804656F-51A1-4CCF-9635-ED739E54375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</TotalTime>
  <Words>375</Words>
  <Application>Microsoft Office PowerPoint</Application>
  <PresentationFormat>Widescreen</PresentationFormat>
  <Paragraphs>5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Ubuntu</vt:lpstr>
      <vt:lpstr>Ubuntu Light</vt:lpstr>
      <vt:lpstr>Ubuntu Medium</vt:lpstr>
      <vt:lpstr>Verdana</vt:lpstr>
      <vt:lpstr>Wingdings</vt:lpstr>
      <vt:lpstr>Capgemini2021</vt:lpstr>
      <vt:lpstr>Diapositive think-cell</vt:lpstr>
      <vt:lpstr>Arun Gulia  Analyst/Software Engineer arun.gulia@capgemini.com +91 8978873807 A4 Grade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ntha Ranjith Kumar Malepati backend Lead</dc:title>
  <dc:creator>A, Babu</dc:creator>
  <cp:lastModifiedBy>Gulia, Arun</cp:lastModifiedBy>
  <cp:revision>4</cp:revision>
  <dcterms:created xsi:type="dcterms:W3CDTF">2023-08-14T17:49:19Z</dcterms:created>
  <dcterms:modified xsi:type="dcterms:W3CDTF">2023-08-23T10:40:18Z</dcterms:modified>
</cp:coreProperties>
</file>